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20"/>
  </p:notesMasterIdLst>
  <p:handoutMasterIdLst>
    <p:handoutMasterId r:id="rId21"/>
  </p:handoutMasterIdLst>
  <p:sldIdLst>
    <p:sldId id="413" r:id="rId2"/>
    <p:sldId id="385" r:id="rId3"/>
    <p:sldId id="414" r:id="rId4"/>
    <p:sldId id="415" r:id="rId5"/>
    <p:sldId id="416" r:id="rId6"/>
    <p:sldId id="401" r:id="rId7"/>
    <p:sldId id="417" r:id="rId8"/>
    <p:sldId id="418" r:id="rId9"/>
    <p:sldId id="406" r:id="rId10"/>
    <p:sldId id="405" r:id="rId11"/>
    <p:sldId id="403" r:id="rId12"/>
    <p:sldId id="404" r:id="rId13"/>
    <p:sldId id="407" r:id="rId14"/>
    <p:sldId id="408" r:id="rId15"/>
    <p:sldId id="409" r:id="rId16"/>
    <p:sldId id="410" r:id="rId17"/>
    <p:sldId id="396" r:id="rId18"/>
    <p:sldId id="419" r:id="rId1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730320-7DB8-4D73-8406-A5984B02EBBE}" v="35" dt="2024-10-18T09:39:12.62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27" autoAdjust="0"/>
    <p:restoredTop sz="97156" autoAdjust="0"/>
  </p:normalViewPr>
  <p:slideViewPr>
    <p:cSldViewPr>
      <p:cViewPr varScale="1">
        <p:scale>
          <a:sx n="107" d="100"/>
          <a:sy n="107" d="100"/>
        </p:scale>
        <p:origin x="960"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P - Sonja Heynen-Pianka" userId="be06f938-f672-4a6f-92da-83ac3f6030d5" providerId="ADAL" clId="{3F730320-7DB8-4D73-8406-A5984B02EBBE}"/>
    <pc:docChg chg="undo custSel addSld delSld modSld sldOrd modMainMaster modNotesMaster">
      <pc:chgData name="SP - Sonja Heynen-Pianka" userId="be06f938-f672-4a6f-92da-83ac3f6030d5" providerId="ADAL" clId="{3F730320-7DB8-4D73-8406-A5984B02EBBE}" dt="2024-10-18T09:58:14.948" v="507" actId="6549"/>
      <pc:docMkLst>
        <pc:docMk/>
      </pc:docMkLst>
      <pc:sldChg chg="modSp del modNotes">
        <pc:chgData name="SP - Sonja Heynen-Pianka" userId="be06f938-f672-4a6f-92da-83ac3f6030d5" providerId="ADAL" clId="{3F730320-7DB8-4D73-8406-A5984B02EBBE}" dt="2024-10-18T09:03:33.095" v="6" actId="47"/>
        <pc:sldMkLst>
          <pc:docMk/>
          <pc:sldMk cId="2996014631" sldId="365"/>
        </pc:sldMkLst>
        <pc:spChg chg="mod">
          <ac:chgData name="SP - Sonja Heynen-Pianka" userId="be06f938-f672-4a6f-92da-83ac3f6030d5" providerId="ADAL" clId="{3F730320-7DB8-4D73-8406-A5984B02EBBE}" dt="2024-10-18T08:59:12.747" v="0"/>
          <ac:spMkLst>
            <pc:docMk/>
            <pc:sldMk cId="2996014631" sldId="365"/>
            <ac:spMk id="3" creationId="{00000000-0000-0000-0000-000000000000}"/>
          </ac:spMkLst>
        </pc:spChg>
        <pc:spChg chg="mod">
          <ac:chgData name="SP - Sonja Heynen-Pianka" userId="be06f938-f672-4a6f-92da-83ac3f6030d5" providerId="ADAL" clId="{3F730320-7DB8-4D73-8406-A5984B02EBBE}" dt="2024-10-18T09:03:18.577" v="4"/>
          <ac:spMkLst>
            <pc:docMk/>
            <pc:sldMk cId="2996014631" sldId="365"/>
            <ac:spMk id="4" creationId="{1D63D1F7-36F8-4DBC-82DB-3B44F963A6C3}"/>
          </ac:spMkLst>
        </pc:spChg>
      </pc:sldChg>
      <pc:sldChg chg="addSp delSp modSp mod setBg modClrScheme chgLayout modNotes">
        <pc:chgData name="SP - Sonja Heynen-Pianka" userId="be06f938-f672-4a6f-92da-83ac3f6030d5" providerId="ADAL" clId="{3F730320-7DB8-4D73-8406-A5984B02EBBE}" dt="2024-10-18T09:05:48.655" v="21" actId="478"/>
        <pc:sldMkLst>
          <pc:docMk/>
          <pc:sldMk cId="1359512183" sldId="385"/>
        </pc:sldMkLst>
        <pc:spChg chg="mod ord">
          <ac:chgData name="SP - Sonja Heynen-Pianka" userId="be06f938-f672-4a6f-92da-83ac3f6030d5" providerId="ADAL" clId="{3F730320-7DB8-4D73-8406-A5984B02EBBE}" dt="2024-10-18T09:04:36.582" v="12" actId="26606"/>
          <ac:spMkLst>
            <pc:docMk/>
            <pc:sldMk cId="1359512183" sldId="385"/>
            <ac:spMk id="2" creationId="{00000000-0000-0000-0000-000000000000}"/>
          </ac:spMkLst>
        </pc:spChg>
        <pc:spChg chg="mod ord">
          <ac:chgData name="SP - Sonja Heynen-Pianka" userId="be06f938-f672-4a6f-92da-83ac3f6030d5" providerId="ADAL" clId="{3F730320-7DB8-4D73-8406-A5984B02EBBE}" dt="2024-10-18T09:04:36.582" v="12" actId="26606"/>
          <ac:spMkLst>
            <pc:docMk/>
            <pc:sldMk cId="1359512183" sldId="385"/>
            <ac:spMk id="3" creationId="{00000000-0000-0000-0000-000000000000}"/>
          </ac:spMkLst>
        </pc:spChg>
        <pc:spChg chg="del mod ord">
          <ac:chgData name="SP - Sonja Heynen-Pianka" userId="be06f938-f672-4a6f-92da-83ac3f6030d5" providerId="ADAL" clId="{3F730320-7DB8-4D73-8406-A5984B02EBBE}" dt="2024-10-18T09:04:55.166" v="14" actId="478"/>
          <ac:spMkLst>
            <pc:docMk/>
            <pc:sldMk cId="1359512183" sldId="385"/>
            <ac:spMk id="4" creationId="{00000000-0000-0000-0000-000000000000}"/>
          </ac:spMkLst>
        </pc:spChg>
        <pc:spChg chg="mod ord">
          <ac:chgData name="SP - Sonja Heynen-Pianka" userId="be06f938-f672-4a6f-92da-83ac3f6030d5" providerId="ADAL" clId="{3F730320-7DB8-4D73-8406-A5984B02EBBE}" dt="2024-10-18T09:05:42.043" v="19" actId="255"/>
          <ac:spMkLst>
            <pc:docMk/>
            <pc:sldMk cId="1359512183" sldId="385"/>
            <ac:spMk id="5" creationId="{00000000-0000-0000-0000-000000000000}"/>
          </ac:spMkLst>
        </pc:spChg>
        <pc:spChg chg="add del mod ord">
          <ac:chgData name="SP - Sonja Heynen-Pianka" userId="be06f938-f672-4a6f-92da-83ac3f6030d5" providerId="ADAL" clId="{3F730320-7DB8-4D73-8406-A5984B02EBBE}" dt="2024-10-18T09:04:36.582" v="12" actId="26606"/>
          <ac:spMkLst>
            <pc:docMk/>
            <pc:sldMk cId="1359512183" sldId="385"/>
            <ac:spMk id="6" creationId="{695539DA-2A8F-0933-D79E-D6FE3C77C7ED}"/>
          </ac:spMkLst>
        </pc:spChg>
        <pc:spChg chg="del mod">
          <ac:chgData name="SP - Sonja Heynen-Pianka" userId="be06f938-f672-4a6f-92da-83ac3f6030d5" providerId="ADAL" clId="{3F730320-7DB8-4D73-8406-A5984B02EBBE}" dt="2024-10-18T09:04:52.843" v="13" actId="478"/>
          <ac:spMkLst>
            <pc:docMk/>
            <pc:sldMk cId="1359512183" sldId="385"/>
            <ac:spMk id="7" creationId="{6C069EEB-3D03-4269-9768-BAFE085D590A}"/>
          </ac:spMkLst>
        </pc:spChg>
        <pc:spChg chg="add del mod ord">
          <ac:chgData name="SP - Sonja Heynen-Pianka" userId="be06f938-f672-4a6f-92da-83ac3f6030d5" providerId="ADAL" clId="{3F730320-7DB8-4D73-8406-A5984B02EBBE}" dt="2024-10-18T09:04:36.582" v="12" actId="26606"/>
          <ac:spMkLst>
            <pc:docMk/>
            <pc:sldMk cId="1359512183" sldId="385"/>
            <ac:spMk id="8" creationId="{05904914-374B-3B8A-1AFC-F98C47F0D133}"/>
          </ac:spMkLst>
        </pc:spChg>
        <pc:spChg chg="add del mod">
          <ac:chgData name="SP - Sonja Heynen-Pianka" userId="be06f938-f672-4a6f-92da-83ac3f6030d5" providerId="ADAL" clId="{3F730320-7DB8-4D73-8406-A5984B02EBBE}" dt="2024-10-18T09:05:48.655" v="21" actId="478"/>
          <ac:spMkLst>
            <pc:docMk/>
            <pc:sldMk cId="1359512183" sldId="385"/>
            <ac:spMk id="9" creationId="{5CABBC4F-87B2-62BE-A516-307FDF803BED}"/>
          </ac:spMkLst>
        </pc:spChg>
        <pc:picChg chg="mod ord">
          <ac:chgData name="SP - Sonja Heynen-Pianka" userId="be06f938-f672-4a6f-92da-83ac3f6030d5" providerId="ADAL" clId="{3F730320-7DB8-4D73-8406-A5984B02EBBE}" dt="2024-10-18T09:04:36.582" v="12" actId="26606"/>
          <ac:picMkLst>
            <pc:docMk/>
            <pc:sldMk cId="1359512183" sldId="385"/>
            <ac:picMk id="10" creationId="{00000000-0000-0000-0000-000000000000}"/>
          </ac:picMkLst>
        </pc:picChg>
      </pc:sldChg>
      <pc:sldChg chg="addSp delSp modSp mod modClrScheme chgLayout modNotes">
        <pc:chgData name="SP - Sonja Heynen-Pianka" userId="be06f938-f672-4a6f-92da-83ac3f6030d5" providerId="ADAL" clId="{3F730320-7DB8-4D73-8406-A5984B02EBBE}" dt="2024-10-18T09:58:14.948" v="507" actId="6549"/>
        <pc:sldMkLst>
          <pc:docMk/>
          <pc:sldMk cId="1581539848" sldId="396"/>
        </pc:sldMkLst>
        <pc:spChg chg="mod ord">
          <ac:chgData name="SP - Sonja Heynen-Pianka" userId="be06f938-f672-4a6f-92da-83ac3f6030d5" providerId="ADAL" clId="{3F730320-7DB8-4D73-8406-A5984B02EBBE}" dt="2024-10-18T09:58:14.948" v="507" actId="6549"/>
          <ac:spMkLst>
            <pc:docMk/>
            <pc:sldMk cId="1581539848" sldId="396"/>
            <ac:spMk id="2" creationId="{00000000-0000-0000-0000-000000000000}"/>
          </ac:spMkLst>
        </pc:spChg>
        <pc:spChg chg="mod ord">
          <ac:chgData name="SP - Sonja Heynen-Pianka" userId="be06f938-f672-4a6f-92da-83ac3f6030d5" providerId="ADAL" clId="{3F730320-7DB8-4D73-8406-A5984B02EBBE}" dt="2024-10-18T09:35:48.623" v="193" actId="700"/>
          <ac:spMkLst>
            <pc:docMk/>
            <pc:sldMk cId="1581539848" sldId="396"/>
            <ac:spMk id="3" creationId="{00000000-0000-0000-0000-000000000000}"/>
          </ac:spMkLst>
        </pc:spChg>
        <pc:spChg chg="del mod ord">
          <ac:chgData name="SP - Sonja Heynen-Pianka" userId="be06f938-f672-4a6f-92da-83ac3f6030d5" providerId="ADAL" clId="{3F730320-7DB8-4D73-8406-A5984B02EBBE}" dt="2024-10-18T09:37:51.772" v="237" actId="478"/>
          <ac:spMkLst>
            <pc:docMk/>
            <pc:sldMk cId="1581539848" sldId="396"/>
            <ac:spMk id="4" creationId="{00000000-0000-0000-0000-000000000000}"/>
          </ac:spMkLst>
        </pc:spChg>
        <pc:spChg chg="mod ord">
          <ac:chgData name="SP - Sonja Heynen-Pianka" userId="be06f938-f672-4a6f-92da-83ac3f6030d5" providerId="ADAL" clId="{3F730320-7DB8-4D73-8406-A5984B02EBBE}" dt="2024-10-18T09:35:48.623" v="193" actId="700"/>
          <ac:spMkLst>
            <pc:docMk/>
            <pc:sldMk cId="1581539848" sldId="396"/>
            <ac:spMk id="5" creationId="{00000000-0000-0000-0000-000000000000}"/>
          </ac:spMkLst>
        </pc:spChg>
        <pc:spChg chg="add del mod ord">
          <ac:chgData name="SP - Sonja Heynen-Pianka" userId="be06f938-f672-4a6f-92da-83ac3f6030d5" providerId="ADAL" clId="{3F730320-7DB8-4D73-8406-A5984B02EBBE}" dt="2024-10-18T09:35:50.243" v="194" actId="478"/>
          <ac:spMkLst>
            <pc:docMk/>
            <pc:sldMk cId="1581539848" sldId="396"/>
            <ac:spMk id="6" creationId="{DBDFCE47-C9CA-72E5-7723-3827B2F50D28}"/>
          </ac:spMkLst>
        </pc:spChg>
        <pc:spChg chg="mod">
          <ac:chgData name="SP - Sonja Heynen-Pianka" userId="be06f938-f672-4a6f-92da-83ac3f6030d5" providerId="ADAL" clId="{3F730320-7DB8-4D73-8406-A5984B02EBBE}" dt="2024-10-18T09:36:00.259" v="197" actId="1076"/>
          <ac:spMkLst>
            <pc:docMk/>
            <pc:sldMk cId="1581539848" sldId="396"/>
            <ac:spMk id="7" creationId="{46DA42C8-FFD2-477F-AC0D-1DB018750919}"/>
          </ac:spMkLst>
        </pc:spChg>
        <pc:spChg chg="add del mod ord">
          <ac:chgData name="SP - Sonja Heynen-Pianka" userId="be06f938-f672-4a6f-92da-83ac3f6030d5" providerId="ADAL" clId="{3F730320-7DB8-4D73-8406-A5984B02EBBE}" dt="2024-10-18T09:36:05.042" v="198" actId="478"/>
          <ac:spMkLst>
            <pc:docMk/>
            <pc:sldMk cId="1581539848" sldId="396"/>
            <ac:spMk id="9" creationId="{D4342631-AAD1-B1B8-DAC0-1D18F79EF85F}"/>
          </ac:spMkLst>
        </pc:spChg>
        <pc:picChg chg="mod">
          <ac:chgData name="SP - Sonja Heynen-Pianka" userId="be06f938-f672-4a6f-92da-83ac3f6030d5" providerId="ADAL" clId="{3F730320-7DB8-4D73-8406-A5984B02EBBE}" dt="2024-10-18T09:35:57.428" v="196" actId="1076"/>
          <ac:picMkLst>
            <pc:docMk/>
            <pc:sldMk cId="1581539848" sldId="396"/>
            <ac:picMk id="8" creationId="{0A9C3642-0355-44E6-9FB9-7199A57D49DF}"/>
          </ac:picMkLst>
        </pc:picChg>
      </pc:sldChg>
      <pc:sldChg chg="modSp del modNotes">
        <pc:chgData name="SP - Sonja Heynen-Pianka" userId="be06f938-f672-4a6f-92da-83ac3f6030d5" providerId="ADAL" clId="{3F730320-7DB8-4D73-8406-A5984B02EBBE}" dt="2024-10-18T09:06:49.258" v="31" actId="47"/>
        <pc:sldMkLst>
          <pc:docMk/>
          <pc:sldMk cId="1583571043" sldId="397"/>
        </pc:sldMkLst>
        <pc:spChg chg="mod">
          <ac:chgData name="SP - Sonja Heynen-Pianka" userId="be06f938-f672-4a6f-92da-83ac3f6030d5" providerId="ADAL" clId="{3F730320-7DB8-4D73-8406-A5984B02EBBE}" dt="2024-10-18T09:03:18.577" v="4"/>
          <ac:spMkLst>
            <pc:docMk/>
            <pc:sldMk cId="1583571043" sldId="397"/>
            <ac:spMk id="2" creationId="{00000000-0000-0000-0000-000000000000}"/>
          </ac:spMkLst>
        </pc:spChg>
        <pc:spChg chg="mod">
          <ac:chgData name="SP - Sonja Heynen-Pianka" userId="be06f938-f672-4a6f-92da-83ac3f6030d5" providerId="ADAL" clId="{3F730320-7DB8-4D73-8406-A5984B02EBBE}" dt="2024-10-18T08:59:12.747" v="0"/>
          <ac:spMkLst>
            <pc:docMk/>
            <pc:sldMk cId="1583571043" sldId="397"/>
            <ac:spMk id="3" creationId="{00000000-0000-0000-0000-000000000000}"/>
          </ac:spMkLst>
        </pc:spChg>
        <pc:spChg chg="mod">
          <ac:chgData name="SP - Sonja Heynen-Pianka" userId="be06f938-f672-4a6f-92da-83ac3f6030d5" providerId="ADAL" clId="{3F730320-7DB8-4D73-8406-A5984B02EBBE}" dt="2024-10-18T08:59:12.747" v="0"/>
          <ac:spMkLst>
            <pc:docMk/>
            <pc:sldMk cId="1583571043" sldId="397"/>
            <ac:spMk id="4" creationId="{00000000-0000-0000-0000-000000000000}"/>
          </ac:spMkLst>
        </pc:spChg>
        <pc:spChg chg="mod">
          <ac:chgData name="SP - Sonja Heynen-Pianka" userId="be06f938-f672-4a6f-92da-83ac3f6030d5" providerId="ADAL" clId="{3F730320-7DB8-4D73-8406-A5984B02EBBE}" dt="2024-10-18T09:03:18.577" v="4"/>
          <ac:spMkLst>
            <pc:docMk/>
            <pc:sldMk cId="1583571043" sldId="397"/>
            <ac:spMk id="5" creationId="{00000000-0000-0000-0000-000000000000}"/>
          </ac:spMkLst>
        </pc:spChg>
        <pc:spChg chg="mod">
          <ac:chgData name="SP - Sonja Heynen-Pianka" userId="be06f938-f672-4a6f-92da-83ac3f6030d5" providerId="ADAL" clId="{3F730320-7DB8-4D73-8406-A5984B02EBBE}" dt="2024-10-18T09:03:18.577" v="4"/>
          <ac:spMkLst>
            <pc:docMk/>
            <pc:sldMk cId="1583571043" sldId="397"/>
            <ac:spMk id="6" creationId="{E4F1BB02-7927-45A1-AA56-C771B7BA102C}"/>
          </ac:spMkLst>
        </pc:spChg>
        <pc:picChg chg="mod">
          <ac:chgData name="SP - Sonja Heynen-Pianka" userId="be06f938-f672-4a6f-92da-83ac3f6030d5" providerId="ADAL" clId="{3F730320-7DB8-4D73-8406-A5984B02EBBE}" dt="2024-10-18T09:03:18.577" v="4"/>
          <ac:picMkLst>
            <pc:docMk/>
            <pc:sldMk cId="1583571043" sldId="397"/>
            <ac:picMk id="7" creationId="{00000000-0000-0000-0000-000000000000}"/>
          </ac:picMkLst>
        </pc:picChg>
      </pc:sldChg>
      <pc:sldChg chg="modSp del mod modNotes">
        <pc:chgData name="SP - Sonja Heynen-Pianka" userId="be06f938-f672-4a6f-92da-83ac3f6030d5" providerId="ADAL" clId="{3F730320-7DB8-4D73-8406-A5984B02EBBE}" dt="2024-10-18T09:27:10.008" v="45" actId="47"/>
        <pc:sldMkLst>
          <pc:docMk/>
          <pc:sldMk cId="1175526309" sldId="398"/>
        </pc:sldMkLst>
        <pc:spChg chg="mod">
          <ac:chgData name="SP - Sonja Heynen-Pianka" userId="be06f938-f672-4a6f-92da-83ac3f6030d5" providerId="ADAL" clId="{3F730320-7DB8-4D73-8406-A5984B02EBBE}" dt="2024-10-18T09:07:27.216" v="34" actId="21"/>
          <ac:spMkLst>
            <pc:docMk/>
            <pc:sldMk cId="1175526309" sldId="398"/>
            <ac:spMk id="2" creationId="{00000000-0000-0000-0000-000000000000}"/>
          </ac:spMkLst>
        </pc:spChg>
        <pc:spChg chg="mod">
          <ac:chgData name="SP - Sonja Heynen-Pianka" userId="be06f938-f672-4a6f-92da-83ac3f6030d5" providerId="ADAL" clId="{3F730320-7DB8-4D73-8406-A5984B02EBBE}" dt="2024-10-18T08:59:12.747" v="0"/>
          <ac:spMkLst>
            <pc:docMk/>
            <pc:sldMk cId="1175526309" sldId="398"/>
            <ac:spMk id="3" creationId="{00000000-0000-0000-0000-000000000000}"/>
          </ac:spMkLst>
        </pc:spChg>
        <pc:spChg chg="mod">
          <ac:chgData name="SP - Sonja Heynen-Pianka" userId="be06f938-f672-4a6f-92da-83ac3f6030d5" providerId="ADAL" clId="{3F730320-7DB8-4D73-8406-A5984B02EBBE}" dt="2024-10-18T08:59:12.747" v="0"/>
          <ac:spMkLst>
            <pc:docMk/>
            <pc:sldMk cId="1175526309" sldId="398"/>
            <ac:spMk id="4" creationId="{00000000-0000-0000-0000-000000000000}"/>
          </ac:spMkLst>
        </pc:spChg>
        <pc:spChg chg="mod">
          <ac:chgData name="SP - Sonja Heynen-Pianka" userId="be06f938-f672-4a6f-92da-83ac3f6030d5" providerId="ADAL" clId="{3F730320-7DB8-4D73-8406-A5984B02EBBE}" dt="2024-10-18T09:03:18.577" v="4"/>
          <ac:spMkLst>
            <pc:docMk/>
            <pc:sldMk cId="1175526309" sldId="398"/>
            <ac:spMk id="5" creationId="{00000000-0000-0000-0000-000000000000}"/>
          </ac:spMkLst>
        </pc:spChg>
      </pc:sldChg>
      <pc:sldChg chg="modSp del mod modNotes">
        <pc:chgData name="SP - Sonja Heynen-Pianka" userId="be06f938-f672-4a6f-92da-83ac3f6030d5" providerId="ADAL" clId="{3F730320-7DB8-4D73-8406-A5984B02EBBE}" dt="2024-10-18T09:27:10.008" v="45" actId="47"/>
        <pc:sldMkLst>
          <pc:docMk/>
          <pc:sldMk cId="2073785404" sldId="399"/>
        </pc:sldMkLst>
        <pc:spChg chg="mod">
          <ac:chgData name="SP - Sonja Heynen-Pianka" userId="be06f938-f672-4a6f-92da-83ac3f6030d5" providerId="ADAL" clId="{3F730320-7DB8-4D73-8406-A5984B02EBBE}" dt="2024-10-18T09:26:21.077" v="39" actId="21"/>
          <ac:spMkLst>
            <pc:docMk/>
            <pc:sldMk cId="2073785404" sldId="399"/>
            <ac:spMk id="2" creationId="{00000000-0000-0000-0000-000000000000}"/>
          </ac:spMkLst>
        </pc:spChg>
        <pc:spChg chg="mod">
          <ac:chgData name="SP - Sonja Heynen-Pianka" userId="be06f938-f672-4a6f-92da-83ac3f6030d5" providerId="ADAL" clId="{3F730320-7DB8-4D73-8406-A5984B02EBBE}" dt="2024-10-18T08:59:12.747" v="0"/>
          <ac:spMkLst>
            <pc:docMk/>
            <pc:sldMk cId="2073785404" sldId="399"/>
            <ac:spMk id="3" creationId="{00000000-0000-0000-0000-000000000000}"/>
          </ac:spMkLst>
        </pc:spChg>
        <pc:spChg chg="mod">
          <ac:chgData name="SP - Sonja Heynen-Pianka" userId="be06f938-f672-4a6f-92da-83ac3f6030d5" providerId="ADAL" clId="{3F730320-7DB8-4D73-8406-A5984B02EBBE}" dt="2024-10-18T08:59:12.747" v="0"/>
          <ac:spMkLst>
            <pc:docMk/>
            <pc:sldMk cId="2073785404" sldId="399"/>
            <ac:spMk id="4" creationId="{00000000-0000-0000-0000-000000000000}"/>
          </ac:spMkLst>
        </pc:spChg>
        <pc:spChg chg="mod">
          <ac:chgData name="SP - Sonja Heynen-Pianka" userId="be06f938-f672-4a6f-92da-83ac3f6030d5" providerId="ADAL" clId="{3F730320-7DB8-4D73-8406-A5984B02EBBE}" dt="2024-10-18T09:03:18.577" v="4"/>
          <ac:spMkLst>
            <pc:docMk/>
            <pc:sldMk cId="2073785404" sldId="399"/>
            <ac:spMk id="5" creationId="{00000000-0000-0000-0000-000000000000}"/>
          </ac:spMkLst>
        </pc:spChg>
        <pc:spChg chg="mod">
          <ac:chgData name="SP - Sonja Heynen-Pianka" userId="be06f938-f672-4a6f-92da-83ac3f6030d5" providerId="ADAL" clId="{3F730320-7DB8-4D73-8406-A5984B02EBBE}" dt="2024-10-18T09:03:18.577" v="4"/>
          <ac:spMkLst>
            <pc:docMk/>
            <pc:sldMk cId="2073785404" sldId="399"/>
            <ac:spMk id="6" creationId="{966E31B2-3D21-4465-AB95-996D6412483D}"/>
          </ac:spMkLst>
        </pc:spChg>
        <pc:picChg chg="mod">
          <ac:chgData name="SP - Sonja Heynen-Pianka" userId="be06f938-f672-4a6f-92da-83ac3f6030d5" providerId="ADAL" clId="{3F730320-7DB8-4D73-8406-A5984B02EBBE}" dt="2024-10-18T09:03:18.577" v="4"/>
          <ac:picMkLst>
            <pc:docMk/>
            <pc:sldMk cId="2073785404" sldId="399"/>
            <ac:picMk id="10" creationId="{00000000-0000-0000-0000-000000000000}"/>
          </ac:picMkLst>
        </pc:picChg>
      </pc:sldChg>
      <pc:sldChg chg="addSp delSp modSp del mod modClrScheme chgLayout modNotes">
        <pc:chgData name="SP - Sonja Heynen-Pianka" userId="be06f938-f672-4a6f-92da-83ac3f6030d5" providerId="ADAL" clId="{3F730320-7DB8-4D73-8406-A5984B02EBBE}" dt="2024-10-18T09:38:35.427" v="244" actId="47"/>
        <pc:sldMkLst>
          <pc:docMk/>
          <pc:sldMk cId="943947739" sldId="400"/>
        </pc:sldMkLst>
        <pc:spChg chg="mod ord">
          <ac:chgData name="SP - Sonja Heynen-Pianka" userId="be06f938-f672-4a6f-92da-83ac3f6030d5" providerId="ADAL" clId="{3F730320-7DB8-4D73-8406-A5984B02EBBE}" dt="2024-10-18T09:38:22.285" v="242" actId="700"/>
          <ac:spMkLst>
            <pc:docMk/>
            <pc:sldMk cId="943947739" sldId="400"/>
            <ac:spMk id="2" creationId="{00000000-0000-0000-0000-000000000000}"/>
          </ac:spMkLst>
        </pc:spChg>
        <pc:spChg chg="mod ord">
          <ac:chgData name="SP - Sonja Heynen-Pianka" userId="be06f938-f672-4a6f-92da-83ac3f6030d5" providerId="ADAL" clId="{3F730320-7DB8-4D73-8406-A5984B02EBBE}" dt="2024-10-18T09:38:22.285" v="242" actId="700"/>
          <ac:spMkLst>
            <pc:docMk/>
            <pc:sldMk cId="943947739" sldId="400"/>
            <ac:spMk id="3" creationId="{00000000-0000-0000-0000-000000000000}"/>
          </ac:spMkLst>
        </pc:spChg>
        <pc:spChg chg="del mod ord">
          <ac:chgData name="SP - Sonja Heynen-Pianka" userId="be06f938-f672-4a6f-92da-83ac3f6030d5" providerId="ADAL" clId="{3F730320-7DB8-4D73-8406-A5984B02EBBE}" dt="2024-10-18T09:38:16.041" v="241" actId="478"/>
          <ac:spMkLst>
            <pc:docMk/>
            <pc:sldMk cId="943947739" sldId="400"/>
            <ac:spMk id="4" creationId="{00000000-0000-0000-0000-000000000000}"/>
          </ac:spMkLst>
        </pc:spChg>
        <pc:spChg chg="mod ord">
          <ac:chgData name="SP - Sonja Heynen-Pianka" userId="be06f938-f672-4a6f-92da-83ac3f6030d5" providerId="ADAL" clId="{3F730320-7DB8-4D73-8406-A5984B02EBBE}" dt="2024-10-18T09:38:22.285" v="242" actId="700"/>
          <ac:spMkLst>
            <pc:docMk/>
            <pc:sldMk cId="943947739" sldId="400"/>
            <ac:spMk id="5" creationId="{00000000-0000-0000-0000-000000000000}"/>
          </ac:spMkLst>
        </pc:spChg>
        <pc:spChg chg="add del mod ord">
          <ac:chgData name="SP - Sonja Heynen-Pianka" userId="be06f938-f672-4a6f-92da-83ac3f6030d5" providerId="ADAL" clId="{3F730320-7DB8-4D73-8406-A5984B02EBBE}" dt="2024-10-18T09:38:13.867" v="240" actId="478"/>
          <ac:spMkLst>
            <pc:docMk/>
            <pc:sldMk cId="943947739" sldId="400"/>
            <ac:spMk id="6" creationId="{CBCB088F-8EE5-68F0-94CE-CCA10EA276A5}"/>
          </ac:spMkLst>
        </pc:spChg>
        <pc:spChg chg="add mod ord">
          <ac:chgData name="SP - Sonja Heynen-Pianka" userId="be06f938-f672-4a6f-92da-83ac3f6030d5" providerId="ADAL" clId="{3F730320-7DB8-4D73-8406-A5984B02EBBE}" dt="2024-10-18T09:38:22.285" v="242" actId="700"/>
          <ac:spMkLst>
            <pc:docMk/>
            <pc:sldMk cId="943947739" sldId="400"/>
            <ac:spMk id="7" creationId="{5D8DE31F-7820-236E-6259-E452E525F6F0}"/>
          </ac:spMkLst>
        </pc:spChg>
        <pc:spChg chg="add mod ord">
          <ac:chgData name="SP - Sonja Heynen-Pianka" userId="be06f938-f672-4a6f-92da-83ac3f6030d5" providerId="ADAL" clId="{3F730320-7DB8-4D73-8406-A5984B02EBBE}" dt="2024-10-18T09:38:22.285" v="242" actId="700"/>
          <ac:spMkLst>
            <pc:docMk/>
            <pc:sldMk cId="943947739" sldId="400"/>
            <ac:spMk id="8" creationId="{69790D17-09AD-4337-5B04-1B166D4D4169}"/>
          </ac:spMkLst>
        </pc:spChg>
        <pc:spChg chg="add mod ord">
          <ac:chgData name="SP - Sonja Heynen-Pianka" userId="be06f938-f672-4a6f-92da-83ac3f6030d5" providerId="ADAL" clId="{3F730320-7DB8-4D73-8406-A5984B02EBBE}" dt="2024-10-18T09:38:22.285" v="242" actId="700"/>
          <ac:spMkLst>
            <pc:docMk/>
            <pc:sldMk cId="943947739" sldId="400"/>
            <ac:spMk id="9" creationId="{96DC0D13-7439-D12E-1FBE-7EA8F6861F48}"/>
          </ac:spMkLst>
        </pc:spChg>
        <pc:spChg chg="add mod ord">
          <ac:chgData name="SP - Sonja Heynen-Pianka" userId="be06f938-f672-4a6f-92da-83ac3f6030d5" providerId="ADAL" clId="{3F730320-7DB8-4D73-8406-A5984B02EBBE}" dt="2024-10-18T09:38:22.285" v="242" actId="700"/>
          <ac:spMkLst>
            <pc:docMk/>
            <pc:sldMk cId="943947739" sldId="400"/>
            <ac:spMk id="10" creationId="{9C4E904C-9040-5198-5EB7-D2FF6535DD62}"/>
          </ac:spMkLst>
        </pc:spChg>
      </pc:sldChg>
      <pc:sldChg chg="addSp delSp modSp mod modNotes">
        <pc:chgData name="SP - Sonja Heynen-Pianka" userId="be06f938-f672-4a6f-92da-83ac3f6030d5" providerId="ADAL" clId="{3F730320-7DB8-4D73-8406-A5984B02EBBE}" dt="2024-10-18T09:56:11.695" v="490" actId="113"/>
        <pc:sldMkLst>
          <pc:docMk/>
          <pc:sldMk cId="771151432" sldId="401"/>
        </pc:sldMkLst>
        <pc:spChg chg="del mod">
          <ac:chgData name="SP - Sonja Heynen-Pianka" userId="be06f938-f672-4a6f-92da-83ac3f6030d5" providerId="ADAL" clId="{3F730320-7DB8-4D73-8406-A5984B02EBBE}" dt="2024-10-18T09:27:49.500" v="54" actId="478"/>
          <ac:spMkLst>
            <pc:docMk/>
            <pc:sldMk cId="771151432" sldId="401"/>
            <ac:spMk id="2" creationId="{00000000-0000-0000-0000-000000000000}"/>
          </ac:spMkLst>
        </pc:spChg>
        <pc:spChg chg="mod">
          <ac:chgData name="SP - Sonja Heynen-Pianka" userId="be06f938-f672-4a6f-92da-83ac3f6030d5" providerId="ADAL" clId="{3F730320-7DB8-4D73-8406-A5984B02EBBE}" dt="2024-10-18T08:59:12.747" v="0"/>
          <ac:spMkLst>
            <pc:docMk/>
            <pc:sldMk cId="771151432" sldId="401"/>
            <ac:spMk id="3" creationId="{00000000-0000-0000-0000-000000000000}"/>
          </ac:spMkLst>
        </pc:spChg>
        <pc:spChg chg="mod">
          <ac:chgData name="SP - Sonja Heynen-Pianka" userId="be06f938-f672-4a6f-92da-83ac3f6030d5" providerId="ADAL" clId="{3F730320-7DB8-4D73-8406-A5984B02EBBE}" dt="2024-10-18T08:59:12.747" v="0"/>
          <ac:spMkLst>
            <pc:docMk/>
            <pc:sldMk cId="771151432" sldId="401"/>
            <ac:spMk id="4" creationId="{00000000-0000-0000-0000-000000000000}"/>
          </ac:spMkLst>
        </pc:spChg>
        <pc:spChg chg="del mod">
          <ac:chgData name="SP - Sonja Heynen-Pianka" userId="be06f938-f672-4a6f-92da-83ac3f6030d5" providerId="ADAL" clId="{3F730320-7DB8-4D73-8406-A5984B02EBBE}" dt="2024-10-18T09:28:05.481" v="59" actId="478"/>
          <ac:spMkLst>
            <pc:docMk/>
            <pc:sldMk cId="771151432" sldId="401"/>
            <ac:spMk id="5" creationId="{00000000-0000-0000-0000-000000000000}"/>
          </ac:spMkLst>
        </pc:spChg>
        <pc:spChg chg="add mod">
          <ac:chgData name="SP - Sonja Heynen-Pianka" userId="be06f938-f672-4a6f-92da-83ac3f6030d5" providerId="ADAL" clId="{3F730320-7DB8-4D73-8406-A5984B02EBBE}" dt="2024-10-18T09:56:11.695" v="490" actId="113"/>
          <ac:spMkLst>
            <pc:docMk/>
            <pc:sldMk cId="771151432" sldId="401"/>
            <ac:spMk id="6" creationId="{C8149CCE-BC6D-BDE4-7D8C-A39B33D430DF}"/>
          </ac:spMkLst>
        </pc:spChg>
        <pc:spChg chg="add del mod">
          <ac:chgData name="SP - Sonja Heynen-Pianka" userId="be06f938-f672-4a6f-92da-83ac3f6030d5" providerId="ADAL" clId="{3F730320-7DB8-4D73-8406-A5984B02EBBE}" dt="2024-10-18T09:28:15.078" v="60" actId="478"/>
          <ac:spMkLst>
            <pc:docMk/>
            <pc:sldMk cId="771151432" sldId="401"/>
            <ac:spMk id="12" creationId="{0461884E-2BBE-AB68-7AF6-C28A79806654}"/>
          </ac:spMkLst>
        </pc:spChg>
        <pc:spChg chg="add mod">
          <ac:chgData name="SP - Sonja Heynen-Pianka" userId="be06f938-f672-4a6f-92da-83ac3f6030d5" providerId="ADAL" clId="{3F730320-7DB8-4D73-8406-A5984B02EBBE}" dt="2024-10-18T09:28:20.023" v="67" actId="20577"/>
          <ac:spMkLst>
            <pc:docMk/>
            <pc:sldMk cId="771151432" sldId="401"/>
            <ac:spMk id="13" creationId="{A6782434-E5E3-484C-4270-318CBF4B9507}"/>
          </ac:spMkLst>
        </pc:spChg>
        <pc:picChg chg="mod">
          <ac:chgData name="SP - Sonja Heynen-Pianka" userId="be06f938-f672-4a6f-92da-83ac3f6030d5" providerId="ADAL" clId="{3F730320-7DB8-4D73-8406-A5984B02EBBE}" dt="2024-10-18T09:27:15.363" v="46" actId="1076"/>
          <ac:picMkLst>
            <pc:docMk/>
            <pc:sldMk cId="771151432" sldId="401"/>
            <ac:picMk id="7" creationId="{00000000-0000-0000-0000-000000000000}"/>
          </ac:picMkLst>
        </pc:picChg>
        <pc:picChg chg="mod">
          <ac:chgData name="SP - Sonja Heynen-Pianka" userId="be06f938-f672-4a6f-92da-83ac3f6030d5" providerId="ADAL" clId="{3F730320-7DB8-4D73-8406-A5984B02EBBE}" dt="2024-10-18T09:27:17.261" v="47" actId="1076"/>
          <ac:picMkLst>
            <pc:docMk/>
            <pc:sldMk cId="771151432" sldId="401"/>
            <ac:picMk id="8" creationId="{00000000-0000-0000-0000-000000000000}"/>
          </ac:picMkLst>
        </pc:picChg>
        <pc:picChg chg="mod">
          <ac:chgData name="SP - Sonja Heynen-Pianka" userId="be06f938-f672-4a6f-92da-83ac3f6030d5" providerId="ADAL" clId="{3F730320-7DB8-4D73-8406-A5984B02EBBE}" dt="2024-10-18T09:27:19.286" v="48" actId="1076"/>
          <ac:picMkLst>
            <pc:docMk/>
            <pc:sldMk cId="771151432" sldId="401"/>
            <ac:picMk id="9" creationId="{00000000-0000-0000-0000-000000000000}"/>
          </ac:picMkLst>
        </pc:picChg>
        <pc:picChg chg="mod">
          <ac:chgData name="SP - Sonja Heynen-Pianka" userId="be06f938-f672-4a6f-92da-83ac3f6030d5" providerId="ADAL" clId="{3F730320-7DB8-4D73-8406-A5984B02EBBE}" dt="2024-10-18T09:03:18.577" v="4"/>
          <ac:picMkLst>
            <pc:docMk/>
            <pc:sldMk cId="771151432" sldId="401"/>
            <ac:picMk id="11" creationId="{B4A91CA7-B417-4819-9B55-59E5B530C749}"/>
          </ac:picMkLst>
        </pc:picChg>
      </pc:sldChg>
      <pc:sldChg chg="delSp modSp del mod modNotes">
        <pc:chgData name="SP - Sonja Heynen-Pianka" userId="be06f938-f672-4a6f-92da-83ac3f6030d5" providerId="ADAL" clId="{3F730320-7DB8-4D73-8406-A5984B02EBBE}" dt="2024-10-18T09:33:07.329" v="153" actId="47"/>
        <pc:sldMkLst>
          <pc:docMk/>
          <pc:sldMk cId="1012502954" sldId="402"/>
        </pc:sldMkLst>
        <pc:spChg chg="mod">
          <ac:chgData name="SP - Sonja Heynen-Pianka" userId="be06f938-f672-4a6f-92da-83ac3f6030d5" providerId="ADAL" clId="{3F730320-7DB8-4D73-8406-A5984B02EBBE}" dt="2024-10-18T09:30:00.769" v="114" actId="21"/>
          <ac:spMkLst>
            <pc:docMk/>
            <pc:sldMk cId="1012502954" sldId="402"/>
            <ac:spMk id="2" creationId="{00000000-0000-0000-0000-000000000000}"/>
          </ac:spMkLst>
        </pc:spChg>
        <pc:spChg chg="mod">
          <ac:chgData name="SP - Sonja Heynen-Pianka" userId="be06f938-f672-4a6f-92da-83ac3f6030d5" providerId="ADAL" clId="{3F730320-7DB8-4D73-8406-A5984B02EBBE}" dt="2024-10-18T08:59:12.747" v="0"/>
          <ac:spMkLst>
            <pc:docMk/>
            <pc:sldMk cId="1012502954" sldId="402"/>
            <ac:spMk id="3" creationId="{00000000-0000-0000-0000-000000000000}"/>
          </ac:spMkLst>
        </pc:spChg>
        <pc:spChg chg="mod">
          <ac:chgData name="SP - Sonja Heynen-Pianka" userId="be06f938-f672-4a6f-92da-83ac3f6030d5" providerId="ADAL" clId="{3F730320-7DB8-4D73-8406-A5984B02EBBE}" dt="2024-10-18T08:59:12.747" v="0"/>
          <ac:spMkLst>
            <pc:docMk/>
            <pc:sldMk cId="1012502954" sldId="402"/>
            <ac:spMk id="4" creationId="{00000000-0000-0000-0000-000000000000}"/>
          </ac:spMkLst>
        </pc:spChg>
        <pc:spChg chg="mod">
          <ac:chgData name="SP - Sonja Heynen-Pianka" userId="be06f938-f672-4a6f-92da-83ac3f6030d5" providerId="ADAL" clId="{3F730320-7DB8-4D73-8406-A5984B02EBBE}" dt="2024-10-18T09:03:18.577" v="4"/>
          <ac:spMkLst>
            <pc:docMk/>
            <pc:sldMk cId="1012502954" sldId="402"/>
            <ac:spMk id="5" creationId="{00000000-0000-0000-0000-000000000000}"/>
          </ac:spMkLst>
        </pc:spChg>
        <pc:spChg chg="mod">
          <ac:chgData name="SP - Sonja Heynen-Pianka" userId="be06f938-f672-4a6f-92da-83ac3f6030d5" providerId="ADAL" clId="{3F730320-7DB8-4D73-8406-A5984B02EBBE}" dt="2024-10-18T09:03:18.577" v="4"/>
          <ac:spMkLst>
            <pc:docMk/>
            <pc:sldMk cId="1012502954" sldId="402"/>
            <ac:spMk id="11" creationId="{25B12747-58FC-41AB-B806-9816623B2DA3}"/>
          </ac:spMkLst>
        </pc:spChg>
        <pc:picChg chg="del mod">
          <ac:chgData name="SP - Sonja Heynen-Pianka" userId="be06f938-f672-4a6f-92da-83ac3f6030d5" providerId="ADAL" clId="{3F730320-7DB8-4D73-8406-A5984B02EBBE}" dt="2024-10-18T09:30:25.675" v="123" actId="21"/>
          <ac:picMkLst>
            <pc:docMk/>
            <pc:sldMk cId="1012502954" sldId="402"/>
            <ac:picMk id="6" creationId="{00000000-0000-0000-0000-000000000000}"/>
          </ac:picMkLst>
        </pc:picChg>
        <pc:picChg chg="del mod">
          <ac:chgData name="SP - Sonja Heynen-Pianka" userId="be06f938-f672-4a6f-92da-83ac3f6030d5" providerId="ADAL" clId="{3F730320-7DB8-4D73-8406-A5984B02EBBE}" dt="2024-10-18T09:30:25.675" v="123" actId="21"/>
          <ac:picMkLst>
            <pc:docMk/>
            <pc:sldMk cId="1012502954" sldId="402"/>
            <ac:picMk id="10" creationId="{00000000-0000-0000-0000-000000000000}"/>
          </ac:picMkLst>
        </pc:picChg>
      </pc:sldChg>
      <pc:sldChg chg="addSp delSp modSp mod modClrScheme chgLayout modNotes">
        <pc:chgData name="SP - Sonja Heynen-Pianka" userId="be06f938-f672-4a6f-92da-83ac3f6030d5" providerId="ADAL" clId="{3F730320-7DB8-4D73-8406-A5984B02EBBE}" dt="2024-10-18T09:57:14.503" v="500" actId="14100"/>
        <pc:sldMkLst>
          <pc:docMk/>
          <pc:sldMk cId="719346228" sldId="403"/>
        </pc:sldMkLst>
        <pc:spChg chg="mod ord">
          <ac:chgData name="SP - Sonja Heynen-Pianka" userId="be06f938-f672-4a6f-92da-83ac3f6030d5" providerId="ADAL" clId="{3F730320-7DB8-4D73-8406-A5984B02EBBE}" dt="2024-10-18T09:57:14.503" v="500" actId="14100"/>
          <ac:spMkLst>
            <pc:docMk/>
            <pc:sldMk cId="719346228" sldId="403"/>
            <ac:spMk id="2" creationId="{00000000-0000-0000-0000-000000000000}"/>
          </ac:spMkLst>
        </pc:spChg>
        <pc:spChg chg="mod ord">
          <ac:chgData name="SP - Sonja Heynen-Pianka" userId="be06f938-f672-4a6f-92da-83ac3f6030d5" providerId="ADAL" clId="{3F730320-7DB8-4D73-8406-A5984B02EBBE}" dt="2024-10-18T09:32:44.183" v="146" actId="700"/>
          <ac:spMkLst>
            <pc:docMk/>
            <pc:sldMk cId="719346228" sldId="403"/>
            <ac:spMk id="3" creationId="{00000000-0000-0000-0000-000000000000}"/>
          </ac:spMkLst>
        </pc:spChg>
        <pc:spChg chg="del mod ord">
          <ac:chgData name="SP - Sonja Heynen-Pianka" userId="be06f938-f672-4a6f-92da-83ac3f6030d5" providerId="ADAL" clId="{3F730320-7DB8-4D73-8406-A5984B02EBBE}" dt="2024-10-18T09:32:58.538" v="151" actId="478"/>
          <ac:spMkLst>
            <pc:docMk/>
            <pc:sldMk cId="719346228" sldId="403"/>
            <ac:spMk id="4" creationId="{00000000-0000-0000-0000-000000000000}"/>
          </ac:spMkLst>
        </pc:spChg>
        <pc:spChg chg="mod ord">
          <ac:chgData name="SP - Sonja Heynen-Pianka" userId="be06f938-f672-4a6f-92da-83ac3f6030d5" providerId="ADAL" clId="{3F730320-7DB8-4D73-8406-A5984B02EBBE}" dt="2024-10-18T09:37:05.882" v="231" actId="20577"/>
          <ac:spMkLst>
            <pc:docMk/>
            <pc:sldMk cId="719346228" sldId="403"/>
            <ac:spMk id="5" creationId="{00000000-0000-0000-0000-000000000000}"/>
          </ac:spMkLst>
        </pc:spChg>
        <pc:spChg chg="add del mod ord">
          <ac:chgData name="SP - Sonja Heynen-Pianka" userId="be06f938-f672-4a6f-92da-83ac3f6030d5" providerId="ADAL" clId="{3F730320-7DB8-4D73-8406-A5984B02EBBE}" dt="2024-10-18T09:32:47.948" v="147" actId="478"/>
          <ac:spMkLst>
            <pc:docMk/>
            <pc:sldMk cId="719346228" sldId="403"/>
            <ac:spMk id="6" creationId="{3D8C3864-A5CF-3E6D-5450-E0B96C0BD69B}"/>
          </ac:spMkLst>
        </pc:spChg>
        <pc:spChg chg="mod">
          <ac:chgData name="SP - Sonja Heynen-Pianka" userId="be06f938-f672-4a6f-92da-83ac3f6030d5" providerId="ADAL" clId="{3F730320-7DB8-4D73-8406-A5984B02EBBE}" dt="2024-10-18T09:03:18.577" v="4"/>
          <ac:spMkLst>
            <pc:docMk/>
            <pc:sldMk cId="719346228" sldId="403"/>
            <ac:spMk id="7" creationId="{DB66198C-B466-4B8E-BFF9-765E1628A38D}"/>
          </ac:spMkLst>
        </pc:spChg>
        <pc:spChg chg="add del mod ord">
          <ac:chgData name="SP - Sonja Heynen-Pianka" userId="be06f938-f672-4a6f-92da-83ac3f6030d5" providerId="ADAL" clId="{3F730320-7DB8-4D73-8406-A5984B02EBBE}" dt="2024-10-18T09:32:55.158" v="150" actId="478"/>
          <ac:spMkLst>
            <pc:docMk/>
            <pc:sldMk cId="719346228" sldId="403"/>
            <ac:spMk id="9" creationId="{5087479B-E244-A4E9-D28B-7355A66DDC92}"/>
          </ac:spMkLst>
        </pc:spChg>
        <pc:picChg chg="mod">
          <ac:chgData name="SP - Sonja Heynen-Pianka" userId="be06f938-f672-4a6f-92da-83ac3f6030d5" providerId="ADAL" clId="{3F730320-7DB8-4D73-8406-A5984B02EBBE}" dt="2024-10-18T09:32:51.540" v="149" actId="1076"/>
          <ac:picMkLst>
            <pc:docMk/>
            <pc:sldMk cId="719346228" sldId="403"/>
            <ac:picMk id="8" creationId="{8E4CB308-61CD-4A29-A0DF-BDB5D5555888}"/>
          </ac:picMkLst>
        </pc:picChg>
      </pc:sldChg>
      <pc:sldChg chg="addSp delSp modSp mod modClrScheme chgLayout modNotes">
        <pc:chgData name="SP - Sonja Heynen-Pianka" userId="be06f938-f672-4a6f-92da-83ac3f6030d5" providerId="ADAL" clId="{3F730320-7DB8-4D73-8406-A5984B02EBBE}" dt="2024-10-18T09:37:02.213" v="230" actId="20577"/>
        <pc:sldMkLst>
          <pc:docMk/>
          <pc:sldMk cId="1129033333" sldId="404"/>
        </pc:sldMkLst>
        <pc:spChg chg="del mod ord">
          <ac:chgData name="SP - Sonja Heynen-Pianka" userId="be06f938-f672-4a6f-92da-83ac3f6030d5" providerId="ADAL" clId="{3F730320-7DB8-4D73-8406-A5984B02EBBE}" dt="2024-10-18T09:33:25.541" v="157" actId="478"/>
          <ac:spMkLst>
            <pc:docMk/>
            <pc:sldMk cId="1129033333" sldId="404"/>
            <ac:spMk id="2" creationId="{00000000-0000-0000-0000-000000000000}"/>
          </ac:spMkLst>
        </pc:spChg>
        <pc:spChg chg="mod ord">
          <ac:chgData name="SP - Sonja Heynen-Pianka" userId="be06f938-f672-4a6f-92da-83ac3f6030d5" providerId="ADAL" clId="{3F730320-7DB8-4D73-8406-A5984B02EBBE}" dt="2024-10-18T09:33:14.950" v="154" actId="700"/>
          <ac:spMkLst>
            <pc:docMk/>
            <pc:sldMk cId="1129033333" sldId="404"/>
            <ac:spMk id="3" creationId="{00000000-0000-0000-0000-000000000000}"/>
          </ac:spMkLst>
        </pc:spChg>
        <pc:spChg chg="del mod ord">
          <ac:chgData name="SP - Sonja Heynen-Pianka" userId="be06f938-f672-4a6f-92da-83ac3f6030d5" providerId="ADAL" clId="{3F730320-7DB8-4D73-8406-A5984B02EBBE}" dt="2024-10-18T09:33:29.978" v="159" actId="478"/>
          <ac:spMkLst>
            <pc:docMk/>
            <pc:sldMk cId="1129033333" sldId="404"/>
            <ac:spMk id="4" creationId="{00000000-0000-0000-0000-000000000000}"/>
          </ac:spMkLst>
        </pc:spChg>
        <pc:spChg chg="mod ord">
          <ac:chgData name="SP - Sonja Heynen-Pianka" userId="be06f938-f672-4a6f-92da-83ac3f6030d5" providerId="ADAL" clId="{3F730320-7DB8-4D73-8406-A5984B02EBBE}" dt="2024-10-18T09:37:02.213" v="230" actId="20577"/>
          <ac:spMkLst>
            <pc:docMk/>
            <pc:sldMk cId="1129033333" sldId="404"/>
            <ac:spMk id="5" creationId="{00000000-0000-0000-0000-000000000000}"/>
          </ac:spMkLst>
        </pc:spChg>
        <pc:spChg chg="add del mod ord">
          <ac:chgData name="SP - Sonja Heynen-Pianka" userId="be06f938-f672-4a6f-92da-83ac3f6030d5" providerId="ADAL" clId="{3F730320-7DB8-4D73-8406-A5984B02EBBE}" dt="2024-10-18T09:33:27.099" v="158" actId="478"/>
          <ac:spMkLst>
            <pc:docMk/>
            <pc:sldMk cId="1129033333" sldId="404"/>
            <ac:spMk id="6" creationId="{1905D98B-15A5-7413-5BD0-DC1AB22F3E42}"/>
          </ac:spMkLst>
        </pc:spChg>
        <pc:spChg chg="mod">
          <ac:chgData name="SP - Sonja Heynen-Pianka" userId="be06f938-f672-4a6f-92da-83ac3f6030d5" providerId="ADAL" clId="{3F730320-7DB8-4D73-8406-A5984B02EBBE}" dt="2024-10-18T09:03:18.577" v="4"/>
          <ac:spMkLst>
            <pc:docMk/>
            <pc:sldMk cId="1129033333" sldId="404"/>
            <ac:spMk id="7" creationId="{44CD3833-B6AF-4E8B-BA12-9897E52CA96D}"/>
          </ac:spMkLst>
        </pc:spChg>
        <pc:spChg chg="add mod ord">
          <ac:chgData name="SP - Sonja Heynen-Pianka" userId="be06f938-f672-4a6f-92da-83ac3f6030d5" providerId="ADAL" clId="{3F730320-7DB8-4D73-8406-A5984B02EBBE}" dt="2024-10-18T09:33:21.780" v="156"/>
          <ac:spMkLst>
            <pc:docMk/>
            <pc:sldMk cId="1129033333" sldId="404"/>
            <ac:spMk id="9" creationId="{A9AF1C30-38B7-FE2E-15D1-8C23AD850891}"/>
          </ac:spMkLst>
        </pc:spChg>
        <pc:picChg chg="mod">
          <ac:chgData name="SP - Sonja Heynen-Pianka" userId="be06f938-f672-4a6f-92da-83ac3f6030d5" providerId="ADAL" clId="{3F730320-7DB8-4D73-8406-A5984B02EBBE}" dt="2024-10-18T09:03:18.577" v="4"/>
          <ac:picMkLst>
            <pc:docMk/>
            <pc:sldMk cId="1129033333" sldId="404"/>
            <ac:picMk id="8" creationId="{4972C45C-D6AF-49EE-9996-A8BB776BCFBB}"/>
          </ac:picMkLst>
        </pc:picChg>
      </pc:sldChg>
      <pc:sldChg chg="addSp delSp modSp mod modClrScheme chgLayout modNotes">
        <pc:chgData name="SP - Sonja Heynen-Pianka" userId="be06f938-f672-4a6f-92da-83ac3f6030d5" providerId="ADAL" clId="{3F730320-7DB8-4D73-8406-A5984B02EBBE}" dt="2024-10-18T09:56:54.182" v="495" actId="12"/>
        <pc:sldMkLst>
          <pc:docMk/>
          <pc:sldMk cId="1503885238" sldId="405"/>
        </pc:sldMkLst>
        <pc:spChg chg="del mod ord">
          <ac:chgData name="SP - Sonja Heynen-Pianka" userId="be06f938-f672-4a6f-92da-83ac3f6030d5" providerId="ADAL" clId="{3F730320-7DB8-4D73-8406-A5984B02EBBE}" dt="2024-10-18T09:32:26.228" v="143" actId="478"/>
          <ac:spMkLst>
            <pc:docMk/>
            <pc:sldMk cId="1503885238" sldId="405"/>
            <ac:spMk id="2" creationId="{00000000-0000-0000-0000-000000000000}"/>
          </ac:spMkLst>
        </pc:spChg>
        <pc:spChg chg="mod ord">
          <ac:chgData name="SP - Sonja Heynen-Pianka" userId="be06f938-f672-4a6f-92da-83ac3f6030d5" providerId="ADAL" clId="{3F730320-7DB8-4D73-8406-A5984B02EBBE}" dt="2024-10-18T09:32:12.803" v="140" actId="700"/>
          <ac:spMkLst>
            <pc:docMk/>
            <pc:sldMk cId="1503885238" sldId="405"/>
            <ac:spMk id="3" creationId="{00000000-0000-0000-0000-000000000000}"/>
          </ac:spMkLst>
        </pc:spChg>
        <pc:spChg chg="del mod ord">
          <ac:chgData name="SP - Sonja Heynen-Pianka" userId="be06f938-f672-4a6f-92da-83ac3f6030d5" providerId="ADAL" clId="{3F730320-7DB8-4D73-8406-A5984B02EBBE}" dt="2024-10-18T09:33:01.626" v="152" actId="478"/>
          <ac:spMkLst>
            <pc:docMk/>
            <pc:sldMk cId="1503885238" sldId="405"/>
            <ac:spMk id="4" creationId="{00000000-0000-0000-0000-000000000000}"/>
          </ac:spMkLst>
        </pc:spChg>
        <pc:spChg chg="mod ord">
          <ac:chgData name="SP - Sonja Heynen-Pianka" userId="be06f938-f672-4a6f-92da-83ac3f6030d5" providerId="ADAL" clId="{3F730320-7DB8-4D73-8406-A5984B02EBBE}" dt="2024-10-18T09:32:12.803" v="140" actId="700"/>
          <ac:spMkLst>
            <pc:docMk/>
            <pc:sldMk cId="1503885238" sldId="405"/>
            <ac:spMk id="5" creationId="{00000000-0000-0000-0000-000000000000}"/>
          </ac:spMkLst>
        </pc:spChg>
        <pc:spChg chg="add del mod ord">
          <ac:chgData name="SP - Sonja Heynen-Pianka" userId="be06f938-f672-4a6f-92da-83ac3f6030d5" providerId="ADAL" clId="{3F730320-7DB8-4D73-8406-A5984B02EBBE}" dt="2024-10-18T09:32:08.208" v="139" actId="700"/>
          <ac:spMkLst>
            <pc:docMk/>
            <pc:sldMk cId="1503885238" sldId="405"/>
            <ac:spMk id="6" creationId="{9F910A07-2FBE-4ED3-1CEC-9E08256784C4}"/>
          </ac:spMkLst>
        </pc:spChg>
        <pc:spChg chg="add del mod ord">
          <ac:chgData name="SP - Sonja Heynen-Pianka" userId="be06f938-f672-4a6f-92da-83ac3f6030d5" providerId="ADAL" clId="{3F730320-7DB8-4D73-8406-A5984B02EBBE}" dt="2024-10-18T09:32:08.208" v="139" actId="700"/>
          <ac:spMkLst>
            <pc:docMk/>
            <pc:sldMk cId="1503885238" sldId="405"/>
            <ac:spMk id="7" creationId="{17F4BB04-ED7C-1CC2-17CC-306F8A14F6A7}"/>
          </ac:spMkLst>
        </pc:spChg>
        <pc:spChg chg="mod">
          <ac:chgData name="SP - Sonja Heynen-Pianka" userId="be06f938-f672-4a6f-92da-83ac3f6030d5" providerId="ADAL" clId="{3F730320-7DB8-4D73-8406-A5984B02EBBE}" dt="2024-10-18T09:03:18.577" v="4"/>
          <ac:spMkLst>
            <pc:docMk/>
            <pc:sldMk cId="1503885238" sldId="405"/>
            <ac:spMk id="9" creationId="{6FA1D6C2-ADC9-4CCC-8869-48BF4477E36C}"/>
          </ac:spMkLst>
        </pc:spChg>
        <pc:spChg chg="add del mod ord">
          <ac:chgData name="SP - Sonja Heynen-Pianka" userId="be06f938-f672-4a6f-92da-83ac3f6030d5" providerId="ADAL" clId="{3F730320-7DB8-4D73-8406-A5984B02EBBE}" dt="2024-10-18T09:32:35.671" v="145" actId="478"/>
          <ac:spMkLst>
            <pc:docMk/>
            <pc:sldMk cId="1503885238" sldId="405"/>
            <ac:spMk id="10" creationId="{61EEF9ED-CBEE-2401-19F8-53930BF6C05F}"/>
          </ac:spMkLst>
        </pc:spChg>
        <pc:spChg chg="add mod ord">
          <ac:chgData name="SP - Sonja Heynen-Pianka" userId="be06f938-f672-4a6f-92da-83ac3f6030d5" providerId="ADAL" clId="{3F730320-7DB8-4D73-8406-A5984B02EBBE}" dt="2024-10-18T09:56:54.182" v="495" actId="12"/>
          <ac:spMkLst>
            <pc:docMk/>
            <pc:sldMk cId="1503885238" sldId="405"/>
            <ac:spMk id="11" creationId="{305ACD73-F2D3-7D90-670B-5B0A171B1377}"/>
          </ac:spMkLst>
        </pc:spChg>
        <pc:picChg chg="mod">
          <ac:chgData name="SP - Sonja Heynen-Pianka" userId="be06f938-f672-4a6f-92da-83ac3f6030d5" providerId="ADAL" clId="{3F730320-7DB8-4D73-8406-A5984B02EBBE}" dt="2024-10-18T09:03:18.577" v="4"/>
          <ac:picMkLst>
            <pc:docMk/>
            <pc:sldMk cId="1503885238" sldId="405"/>
            <ac:picMk id="8" creationId="{01ADCAFD-4774-487A-A97E-8998205B1562}"/>
          </ac:picMkLst>
        </pc:picChg>
      </pc:sldChg>
      <pc:sldChg chg="addSp delSp modSp mod modClrScheme chgLayout modNotes">
        <pc:chgData name="SP - Sonja Heynen-Pianka" userId="be06f938-f672-4a6f-92da-83ac3f6030d5" providerId="ADAL" clId="{3F730320-7DB8-4D73-8406-A5984B02EBBE}" dt="2024-10-18T09:56:36.586" v="494" actId="12"/>
        <pc:sldMkLst>
          <pc:docMk/>
          <pc:sldMk cId="1081174232" sldId="406"/>
        </pc:sldMkLst>
        <pc:spChg chg="mod ord">
          <ac:chgData name="SP - Sonja Heynen-Pianka" userId="be06f938-f672-4a6f-92da-83ac3f6030d5" providerId="ADAL" clId="{3F730320-7DB8-4D73-8406-A5984B02EBBE}" dt="2024-10-18T09:56:36.586" v="494" actId="12"/>
          <ac:spMkLst>
            <pc:docMk/>
            <pc:sldMk cId="1081174232" sldId="406"/>
            <ac:spMk id="2" creationId="{00000000-0000-0000-0000-000000000000}"/>
          </ac:spMkLst>
        </pc:spChg>
        <pc:spChg chg="mod ord">
          <ac:chgData name="SP - Sonja Heynen-Pianka" userId="be06f938-f672-4a6f-92da-83ac3f6030d5" providerId="ADAL" clId="{3F730320-7DB8-4D73-8406-A5984B02EBBE}" dt="2024-10-18T09:31:16.146" v="131" actId="700"/>
          <ac:spMkLst>
            <pc:docMk/>
            <pc:sldMk cId="1081174232" sldId="406"/>
            <ac:spMk id="3" creationId="{00000000-0000-0000-0000-000000000000}"/>
          </ac:spMkLst>
        </pc:spChg>
        <pc:spChg chg="mod ord">
          <ac:chgData name="SP - Sonja Heynen-Pianka" userId="be06f938-f672-4a6f-92da-83ac3f6030d5" providerId="ADAL" clId="{3F730320-7DB8-4D73-8406-A5984B02EBBE}" dt="2024-10-18T09:31:16.146" v="131" actId="700"/>
          <ac:spMkLst>
            <pc:docMk/>
            <pc:sldMk cId="1081174232" sldId="406"/>
            <ac:spMk id="4" creationId="{00000000-0000-0000-0000-000000000000}"/>
          </ac:spMkLst>
        </pc:spChg>
        <pc:spChg chg="mod ord">
          <ac:chgData name="SP - Sonja Heynen-Pianka" userId="be06f938-f672-4a6f-92da-83ac3f6030d5" providerId="ADAL" clId="{3F730320-7DB8-4D73-8406-A5984B02EBBE}" dt="2024-10-18T09:37:18.574" v="233" actId="255"/>
          <ac:spMkLst>
            <pc:docMk/>
            <pc:sldMk cId="1081174232" sldId="406"/>
            <ac:spMk id="5" creationId="{00000000-0000-0000-0000-000000000000}"/>
          </ac:spMkLst>
        </pc:spChg>
        <pc:spChg chg="add del mod ord">
          <ac:chgData name="SP - Sonja Heynen-Pianka" userId="be06f938-f672-4a6f-92da-83ac3f6030d5" providerId="ADAL" clId="{3F730320-7DB8-4D73-8406-A5984B02EBBE}" dt="2024-10-18T09:31:24.836" v="134" actId="478"/>
          <ac:spMkLst>
            <pc:docMk/>
            <pc:sldMk cId="1081174232" sldId="406"/>
            <ac:spMk id="6" creationId="{C4538510-C570-8A0F-F707-341ECEA5BBC7}"/>
          </ac:spMkLst>
        </pc:spChg>
        <pc:spChg chg="mod">
          <ac:chgData name="SP - Sonja Heynen-Pianka" userId="be06f938-f672-4a6f-92da-83ac3f6030d5" providerId="ADAL" clId="{3F730320-7DB8-4D73-8406-A5984B02EBBE}" dt="2024-10-18T09:03:18.577" v="4"/>
          <ac:spMkLst>
            <pc:docMk/>
            <pc:sldMk cId="1081174232" sldId="406"/>
            <ac:spMk id="7" creationId="{7F4CB6F7-9CFC-490C-8E40-00C5A85DDFCD}"/>
          </ac:spMkLst>
        </pc:spChg>
        <pc:spChg chg="add del mod ord">
          <ac:chgData name="SP - Sonja Heynen-Pianka" userId="be06f938-f672-4a6f-92da-83ac3f6030d5" providerId="ADAL" clId="{3F730320-7DB8-4D73-8406-A5984B02EBBE}" dt="2024-10-18T09:37:21.537" v="234" actId="478"/>
          <ac:spMkLst>
            <pc:docMk/>
            <pc:sldMk cId="1081174232" sldId="406"/>
            <ac:spMk id="9" creationId="{99D35B00-F076-4234-8F11-C967C0A43DFD}"/>
          </ac:spMkLst>
        </pc:spChg>
        <pc:picChg chg="mod">
          <ac:chgData name="SP - Sonja Heynen-Pianka" userId="be06f938-f672-4a6f-92da-83ac3f6030d5" providerId="ADAL" clId="{3F730320-7DB8-4D73-8406-A5984B02EBBE}" dt="2024-10-18T09:31:28.909" v="135" actId="1076"/>
          <ac:picMkLst>
            <pc:docMk/>
            <pc:sldMk cId="1081174232" sldId="406"/>
            <ac:picMk id="8" creationId="{B6426CF4-3FF3-4C32-BB72-F675A81430F9}"/>
          </ac:picMkLst>
        </pc:picChg>
      </pc:sldChg>
      <pc:sldChg chg="addSp delSp modSp mod modClrScheme chgLayout modNotes">
        <pc:chgData name="SP - Sonja Heynen-Pianka" userId="be06f938-f672-4a6f-92da-83ac3f6030d5" providerId="ADAL" clId="{3F730320-7DB8-4D73-8406-A5984B02EBBE}" dt="2024-10-18T09:57:26.930" v="501" actId="12"/>
        <pc:sldMkLst>
          <pc:docMk/>
          <pc:sldMk cId="983631233" sldId="407"/>
        </pc:sldMkLst>
        <pc:spChg chg="mod ord">
          <ac:chgData name="SP - Sonja Heynen-Pianka" userId="be06f938-f672-4a6f-92da-83ac3f6030d5" providerId="ADAL" clId="{3F730320-7DB8-4D73-8406-A5984B02EBBE}" dt="2024-10-18T09:57:26.930" v="501" actId="12"/>
          <ac:spMkLst>
            <pc:docMk/>
            <pc:sldMk cId="983631233" sldId="407"/>
            <ac:spMk id="2" creationId="{00000000-0000-0000-0000-000000000000}"/>
          </ac:spMkLst>
        </pc:spChg>
        <pc:spChg chg="mod ord">
          <ac:chgData name="SP - Sonja Heynen-Pianka" userId="be06f938-f672-4a6f-92da-83ac3f6030d5" providerId="ADAL" clId="{3F730320-7DB8-4D73-8406-A5984B02EBBE}" dt="2024-10-18T09:33:51.761" v="164" actId="700"/>
          <ac:spMkLst>
            <pc:docMk/>
            <pc:sldMk cId="983631233" sldId="407"/>
            <ac:spMk id="3" creationId="{00000000-0000-0000-0000-000000000000}"/>
          </ac:spMkLst>
        </pc:spChg>
        <pc:spChg chg="del mod ord">
          <ac:chgData name="SP - Sonja Heynen-Pianka" userId="be06f938-f672-4a6f-92da-83ac3f6030d5" providerId="ADAL" clId="{3F730320-7DB8-4D73-8406-A5984B02EBBE}" dt="2024-10-18T09:34:02.913" v="169" actId="478"/>
          <ac:spMkLst>
            <pc:docMk/>
            <pc:sldMk cId="983631233" sldId="407"/>
            <ac:spMk id="4" creationId="{00000000-0000-0000-0000-000000000000}"/>
          </ac:spMkLst>
        </pc:spChg>
        <pc:spChg chg="mod ord">
          <ac:chgData name="SP - Sonja Heynen-Pianka" userId="be06f938-f672-4a6f-92da-83ac3f6030d5" providerId="ADAL" clId="{3F730320-7DB8-4D73-8406-A5984B02EBBE}" dt="2024-10-18T09:36:58.689" v="229" actId="20577"/>
          <ac:spMkLst>
            <pc:docMk/>
            <pc:sldMk cId="983631233" sldId="407"/>
            <ac:spMk id="5" creationId="{00000000-0000-0000-0000-000000000000}"/>
          </ac:spMkLst>
        </pc:spChg>
        <pc:spChg chg="add del mod ord">
          <ac:chgData name="SP - Sonja Heynen-Pianka" userId="be06f938-f672-4a6f-92da-83ac3f6030d5" providerId="ADAL" clId="{3F730320-7DB8-4D73-8406-A5984B02EBBE}" dt="2024-10-18T09:33:44.557" v="163" actId="700"/>
          <ac:spMkLst>
            <pc:docMk/>
            <pc:sldMk cId="983631233" sldId="407"/>
            <ac:spMk id="6" creationId="{E7D14634-AA98-5A15-E9AF-A788B9E06C17}"/>
          </ac:spMkLst>
        </pc:spChg>
        <pc:spChg chg="add del mod ord">
          <ac:chgData name="SP - Sonja Heynen-Pianka" userId="be06f938-f672-4a6f-92da-83ac3f6030d5" providerId="ADAL" clId="{3F730320-7DB8-4D73-8406-A5984B02EBBE}" dt="2024-10-18T09:33:44.557" v="163" actId="700"/>
          <ac:spMkLst>
            <pc:docMk/>
            <pc:sldMk cId="983631233" sldId="407"/>
            <ac:spMk id="9" creationId="{9F02F27A-57DB-D077-014F-487F69BEA16F}"/>
          </ac:spMkLst>
        </pc:spChg>
        <pc:spChg chg="mod">
          <ac:chgData name="SP - Sonja Heynen-Pianka" userId="be06f938-f672-4a6f-92da-83ac3f6030d5" providerId="ADAL" clId="{3F730320-7DB8-4D73-8406-A5984B02EBBE}" dt="2024-10-18T09:03:18.577" v="4"/>
          <ac:spMkLst>
            <pc:docMk/>
            <pc:sldMk cId="983631233" sldId="407"/>
            <ac:spMk id="10" creationId="{AE5E374F-8948-44C1-A887-552939C3029D}"/>
          </ac:spMkLst>
        </pc:spChg>
        <pc:spChg chg="add del mod ord">
          <ac:chgData name="SP - Sonja Heynen-Pianka" userId="be06f938-f672-4a6f-92da-83ac3f6030d5" providerId="ADAL" clId="{3F730320-7DB8-4D73-8406-A5984B02EBBE}" dt="2024-10-18T09:33:56.575" v="166" actId="478"/>
          <ac:spMkLst>
            <pc:docMk/>
            <pc:sldMk cId="983631233" sldId="407"/>
            <ac:spMk id="11" creationId="{54DAE7AC-31BD-1F4A-81CC-686D5CDFA020}"/>
          </ac:spMkLst>
        </pc:spChg>
        <pc:spChg chg="add del mod ord">
          <ac:chgData name="SP - Sonja Heynen-Pianka" userId="be06f938-f672-4a6f-92da-83ac3f6030d5" providerId="ADAL" clId="{3F730320-7DB8-4D73-8406-A5984B02EBBE}" dt="2024-10-18T09:33:55.045" v="165" actId="478"/>
          <ac:spMkLst>
            <pc:docMk/>
            <pc:sldMk cId="983631233" sldId="407"/>
            <ac:spMk id="12" creationId="{2A2E3794-0929-83BE-09FA-5202CDD9C761}"/>
          </ac:spMkLst>
        </pc:spChg>
        <pc:picChg chg="mod">
          <ac:chgData name="SP - Sonja Heynen-Pianka" userId="be06f938-f672-4a6f-92da-83ac3f6030d5" providerId="ADAL" clId="{3F730320-7DB8-4D73-8406-A5984B02EBBE}" dt="2024-10-18T09:33:58.317" v="167" actId="1076"/>
          <ac:picMkLst>
            <pc:docMk/>
            <pc:sldMk cId="983631233" sldId="407"/>
            <ac:picMk id="7" creationId="{00000000-0000-0000-0000-000000000000}"/>
          </ac:picMkLst>
        </pc:picChg>
        <pc:picChg chg="mod">
          <ac:chgData name="SP - Sonja Heynen-Pianka" userId="be06f938-f672-4a6f-92da-83ac3f6030d5" providerId="ADAL" clId="{3F730320-7DB8-4D73-8406-A5984B02EBBE}" dt="2024-10-18T09:34:00.461" v="168" actId="1076"/>
          <ac:picMkLst>
            <pc:docMk/>
            <pc:sldMk cId="983631233" sldId="407"/>
            <ac:picMk id="8" creationId="{00000000-0000-0000-0000-000000000000}"/>
          </ac:picMkLst>
        </pc:picChg>
      </pc:sldChg>
      <pc:sldChg chg="addSp delSp modSp mod modClrScheme chgLayout modNotes">
        <pc:chgData name="SP - Sonja Heynen-Pianka" userId="be06f938-f672-4a6f-92da-83ac3f6030d5" providerId="ADAL" clId="{3F730320-7DB8-4D73-8406-A5984B02EBBE}" dt="2024-10-18T09:57:34.989" v="502" actId="12"/>
        <pc:sldMkLst>
          <pc:docMk/>
          <pc:sldMk cId="1905241081" sldId="408"/>
        </pc:sldMkLst>
        <pc:spChg chg="mod ord">
          <ac:chgData name="SP - Sonja Heynen-Pianka" userId="be06f938-f672-4a6f-92da-83ac3f6030d5" providerId="ADAL" clId="{3F730320-7DB8-4D73-8406-A5984B02EBBE}" dt="2024-10-18T09:57:34.989" v="502" actId="12"/>
          <ac:spMkLst>
            <pc:docMk/>
            <pc:sldMk cId="1905241081" sldId="408"/>
            <ac:spMk id="2" creationId="{00000000-0000-0000-0000-000000000000}"/>
          </ac:spMkLst>
        </pc:spChg>
        <pc:spChg chg="mod ord">
          <ac:chgData name="SP - Sonja Heynen-Pianka" userId="be06f938-f672-4a6f-92da-83ac3f6030d5" providerId="ADAL" clId="{3F730320-7DB8-4D73-8406-A5984B02EBBE}" dt="2024-10-18T09:34:15.959" v="171" actId="700"/>
          <ac:spMkLst>
            <pc:docMk/>
            <pc:sldMk cId="1905241081" sldId="408"/>
            <ac:spMk id="3" creationId="{00000000-0000-0000-0000-000000000000}"/>
          </ac:spMkLst>
        </pc:spChg>
        <pc:spChg chg="del mod">
          <ac:chgData name="SP - Sonja Heynen-Pianka" userId="be06f938-f672-4a6f-92da-83ac3f6030d5" providerId="ADAL" clId="{3F730320-7DB8-4D73-8406-A5984B02EBBE}" dt="2024-10-18T09:34:08.242" v="170" actId="478"/>
          <ac:spMkLst>
            <pc:docMk/>
            <pc:sldMk cId="1905241081" sldId="408"/>
            <ac:spMk id="4" creationId="{00000000-0000-0000-0000-000000000000}"/>
          </ac:spMkLst>
        </pc:spChg>
        <pc:spChg chg="mod ord">
          <ac:chgData name="SP - Sonja Heynen-Pianka" userId="be06f938-f672-4a6f-92da-83ac3f6030d5" providerId="ADAL" clId="{3F730320-7DB8-4D73-8406-A5984B02EBBE}" dt="2024-10-18T09:36:55.235" v="228" actId="20577"/>
          <ac:spMkLst>
            <pc:docMk/>
            <pc:sldMk cId="1905241081" sldId="408"/>
            <ac:spMk id="5" creationId="{00000000-0000-0000-0000-000000000000}"/>
          </ac:spMkLst>
        </pc:spChg>
        <pc:spChg chg="add del mod ord">
          <ac:chgData name="SP - Sonja Heynen-Pianka" userId="be06f938-f672-4a6f-92da-83ac3f6030d5" providerId="ADAL" clId="{3F730320-7DB8-4D73-8406-A5984B02EBBE}" dt="2024-10-18T09:34:25.407" v="175" actId="478"/>
          <ac:spMkLst>
            <pc:docMk/>
            <pc:sldMk cId="1905241081" sldId="408"/>
            <ac:spMk id="6" creationId="{AF7717A1-5EFB-8E7E-495E-5482C53B40C9}"/>
          </ac:spMkLst>
        </pc:spChg>
        <pc:spChg chg="mod">
          <ac:chgData name="SP - Sonja Heynen-Pianka" userId="be06f938-f672-4a6f-92da-83ac3f6030d5" providerId="ADAL" clId="{3F730320-7DB8-4D73-8406-A5984B02EBBE}" dt="2024-10-18T09:34:28.796" v="176" actId="1076"/>
          <ac:spMkLst>
            <pc:docMk/>
            <pc:sldMk cId="1905241081" sldId="408"/>
            <ac:spMk id="8" creationId="{A1937033-532F-410D-8562-84813C8E4B98}"/>
          </ac:spMkLst>
        </pc:spChg>
        <pc:spChg chg="add del mod ord">
          <ac:chgData name="SP - Sonja Heynen-Pianka" userId="be06f938-f672-4a6f-92da-83ac3f6030d5" providerId="ADAL" clId="{3F730320-7DB8-4D73-8406-A5984B02EBBE}" dt="2024-10-18T09:34:30.787" v="177" actId="478"/>
          <ac:spMkLst>
            <pc:docMk/>
            <pc:sldMk cId="1905241081" sldId="408"/>
            <ac:spMk id="11" creationId="{EB1FED3D-17B0-5C44-E0F3-2E3877A05FDE}"/>
          </ac:spMkLst>
        </pc:spChg>
        <pc:picChg chg="mod">
          <ac:chgData name="SP - Sonja Heynen-Pianka" userId="be06f938-f672-4a6f-92da-83ac3f6030d5" providerId="ADAL" clId="{3F730320-7DB8-4D73-8406-A5984B02EBBE}" dt="2024-10-18T09:34:19.533" v="172" actId="1076"/>
          <ac:picMkLst>
            <pc:docMk/>
            <pc:sldMk cId="1905241081" sldId="408"/>
            <ac:picMk id="7" creationId="{00000000-0000-0000-0000-000000000000}"/>
          </ac:picMkLst>
        </pc:picChg>
        <pc:picChg chg="mod">
          <ac:chgData name="SP - Sonja Heynen-Pianka" userId="be06f938-f672-4a6f-92da-83ac3f6030d5" providerId="ADAL" clId="{3F730320-7DB8-4D73-8406-A5984B02EBBE}" dt="2024-10-18T09:34:21.717" v="173" actId="1076"/>
          <ac:picMkLst>
            <pc:docMk/>
            <pc:sldMk cId="1905241081" sldId="408"/>
            <ac:picMk id="9" creationId="{00000000-0000-0000-0000-000000000000}"/>
          </ac:picMkLst>
        </pc:picChg>
        <pc:picChg chg="mod">
          <ac:chgData name="SP - Sonja Heynen-Pianka" userId="be06f938-f672-4a6f-92da-83ac3f6030d5" providerId="ADAL" clId="{3F730320-7DB8-4D73-8406-A5984B02EBBE}" dt="2024-10-18T09:34:24.308" v="174" actId="1076"/>
          <ac:picMkLst>
            <pc:docMk/>
            <pc:sldMk cId="1905241081" sldId="408"/>
            <ac:picMk id="10" creationId="{00000000-0000-0000-0000-000000000000}"/>
          </ac:picMkLst>
        </pc:picChg>
      </pc:sldChg>
      <pc:sldChg chg="addSp delSp modSp mod modClrScheme chgLayout modNotes">
        <pc:chgData name="SP - Sonja Heynen-Pianka" userId="be06f938-f672-4a6f-92da-83ac3f6030d5" providerId="ADAL" clId="{3F730320-7DB8-4D73-8406-A5984B02EBBE}" dt="2024-10-18T09:57:42.746" v="504" actId="12"/>
        <pc:sldMkLst>
          <pc:docMk/>
          <pc:sldMk cId="1617876982" sldId="409"/>
        </pc:sldMkLst>
        <pc:spChg chg="mod ord">
          <ac:chgData name="SP - Sonja Heynen-Pianka" userId="be06f938-f672-4a6f-92da-83ac3f6030d5" providerId="ADAL" clId="{3F730320-7DB8-4D73-8406-A5984B02EBBE}" dt="2024-10-18T09:57:42.746" v="504" actId="12"/>
          <ac:spMkLst>
            <pc:docMk/>
            <pc:sldMk cId="1617876982" sldId="409"/>
            <ac:spMk id="2" creationId="{00000000-0000-0000-0000-000000000000}"/>
          </ac:spMkLst>
        </pc:spChg>
        <pc:spChg chg="mod ord">
          <ac:chgData name="SP - Sonja Heynen-Pianka" userId="be06f938-f672-4a6f-92da-83ac3f6030d5" providerId="ADAL" clId="{3F730320-7DB8-4D73-8406-A5984B02EBBE}" dt="2024-10-18T09:34:41.162" v="178" actId="700"/>
          <ac:spMkLst>
            <pc:docMk/>
            <pc:sldMk cId="1617876982" sldId="409"/>
            <ac:spMk id="3" creationId="{00000000-0000-0000-0000-000000000000}"/>
          </ac:spMkLst>
        </pc:spChg>
        <pc:spChg chg="del mod ord">
          <ac:chgData name="SP - Sonja Heynen-Pianka" userId="be06f938-f672-4a6f-92da-83ac3f6030d5" providerId="ADAL" clId="{3F730320-7DB8-4D73-8406-A5984B02EBBE}" dt="2024-10-18T09:34:59.998" v="183" actId="478"/>
          <ac:spMkLst>
            <pc:docMk/>
            <pc:sldMk cId="1617876982" sldId="409"/>
            <ac:spMk id="4" creationId="{00000000-0000-0000-0000-000000000000}"/>
          </ac:spMkLst>
        </pc:spChg>
        <pc:spChg chg="mod ord">
          <ac:chgData name="SP - Sonja Heynen-Pianka" userId="be06f938-f672-4a6f-92da-83ac3f6030d5" providerId="ADAL" clId="{3F730320-7DB8-4D73-8406-A5984B02EBBE}" dt="2024-10-18T09:36:50.721" v="227" actId="20577"/>
          <ac:spMkLst>
            <pc:docMk/>
            <pc:sldMk cId="1617876982" sldId="409"/>
            <ac:spMk id="5" creationId="{00000000-0000-0000-0000-000000000000}"/>
          </ac:spMkLst>
        </pc:spChg>
        <pc:spChg chg="add del mod ord">
          <ac:chgData name="SP - Sonja Heynen-Pianka" userId="be06f938-f672-4a6f-92da-83ac3f6030d5" providerId="ADAL" clId="{3F730320-7DB8-4D73-8406-A5984B02EBBE}" dt="2024-10-18T09:34:43.054" v="179" actId="478"/>
          <ac:spMkLst>
            <pc:docMk/>
            <pc:sldMk cId="1617876982" sldId="409"/>
            <ac:spMk id="6" creationId="{86BA2B41-07FA-2C2E-16B2-0787CF2CF90B}"/>
          </ac:spMkLst>
        </pc:spChg>
        <pc:spChg chg="mod">
          <ac:chgData name="SP - Sonja Heynen-Pianka" userId="be06f938-f672-4a6f-92da-83ac3f6030d5" providerId="ADAL" clId="{3F730320-7DB8-4D73-8406-A5984B02EBBE}" dt="2024-10-18T09:03:18.577" v="4"/>
          <ac:spMkLst>
            <pc:docMk/>
            <pc:sldMk cId="1617876982" sldId="409"/>
            <ac:spMk id="7" creationId="{255F446A-43C3-4361-9F75-BFE64B1F284C}"/>
          </ac:spMkLst>
        </pc:spChg>
        <pc:spChg chg="add del mod ord">
          <ac:chgData name="SP - Sonja Heynen-Pianka" userId="be06f938-f672-4a6f-92da-83ac3f6030d5" providerId="ADAL" clId="{3F730320-7DB8-4D73-8406-A5984B02EBBE}" dt="2024-10-18T09:34:47.245" v="180" actId="478"/>
          <ac:spMkLst>
            <pc:docMk/>
            <pc:sldMk cId="1617876982" sldId="409"/>
            <ac:spMk id="8" creationId="{D32D6837-C8E4-5194-D15F-6516432D4129}"/>
          </ac:spMkLst>
        </pc:spChg>
        <pc:picChg chg="mod">
          <ac:chgData name="SP - Sonja Heynen-Pianka" userId="be06f938-f672-4a6f-92da-83ac3f6030d5" providerId="ADAL" clId="{3F730320-7DB8-4D73-8406-A5984B02EBBE}" dt="2024-10-18T09:03:18.577" v="4"/>
          <ac:picMkLst>
            <pc:docMk/>
            <pc:sldMk cId="1617876982" sldId="409"/>
            <ac:picMk id="10" creationId="{00000000-0000-0000-0000-000000000000}"/>
          </ac:picMkLst>
        </pc:picChg>
      </pc:sldChg>
      <pc:sldChg chg="addSp delSp modSp mod modClrScheme chgLayout modNotes">
        <pc:chgData name="SP - Sonja Heynen-Pianka" userId="be06f938-f672-4a6f-92da-83ac3f6030d5" providerId="ADAL" clId="{3F730320-7DB8-4D73-8406-A5984B02EBBE}" dt="2024-10-18T09:57:58.384" v="505" actId="11"/>
        <pc:sldMkLst>
          <pc:docMk/>
          <pc:sldMk cId="1122336503" sldId="410"/>
        </pc:sldMkLst>
        <pc:spChg chg="mod ord">
          <ac:chgData name="SP - Sonja Heynen-Pianka" userId="be06f938-f672-4a6f-92da-83ac3f6030d5" providerId="ADAL" clId="{3F730320-7DB8-4D73-8406-A5984B02EBBE}" dt="2024-10-18T09:57:58.384" v="505" actId="11"/>
          <ac:spMkLst>
            <pc:docMk/>
            <pc:sldMk cId="1122336503" sldId="410"/>
            <ac:spMk id="2" creationId="{00000000-0000-0000-0000-000000000000}"/>
          </ac:spMkLst>
        </pc:spChg>
        <pc:spChg chg="mod ord">
          <ac:chgData name="SP - Sonja Heynen-Pianka" userId="be06f938-f672-4a6f-92da-83ac3f6030d5" providerId="ADAL" clId="{3F730320-7DB8-4D73-8406-A5984B02EBBE}" dt="2024-10-18T09:35:21.189" v="184" actId="700"/>
          <ac:spMkLst>
            <pc:docMk/>
            <pc:sldMk cId="1122336503" sldId="410"/>
            <ac:spMk id="3" creationId="{00000000-0000-0000-0000-000000000000}"/>
          </ac:spMkLst>
        </pc:spChg>
        <pc:spChg chg="del mod ord">
          <ac:chgData name="SP - Sonja Heynen-Pianka" userId="be06f938-f672-4a6f-92da-83ac3f6030d5" providerId="ADAL" clId="{3F730320-7DB8-4D73-8406-A5984B02EBBE}" dt="2024-10-18T09:37:55.089" v="238" actId="478"/>
          <ac:spMkLst>
            <pc:docMk/>
            <pc:sldMk cId="1122336503" sldId="410"/>
            <ac:spMk id="4" creationId="{00000000-0000-0000-0000-000000000000}"/>
          </ac:spMkLst>
        </pc:spChg>
        <pc:spChg chg="mod ord">
          <ac:chgData name="SP - Sonja Heynen-Pianka" userId="be06f938-f672-4a6f-92da-83ac3f6030d5" providerId="ADAL" clId="{3F730320-7DB8-4D73-8406-A5984B02EBBE}" dt="2024-10-18T09:36:46.210" v="226" actId="20577"/>
          <ac:spMkLst>
            <pc:docMk/>
            <pc:sldMk cId="1122336503" sldId="410"/>
            <ac:spMk id="5" creationId="{00000000-0000-0000-0000-000000000000}"/>
          </ac:spMkLst>
        </pc:spChg>
        <pc:spChg chg="add del mod ord">
          <ac:chgData name="SP - Sonja Heynen-Pianka" userId="be06f938-f672-4a6f-92da-83ac3f6030d5" providerId="ADAL" clId="{3F730320-7DB8-4D73-8406-A5984B02EBBE}" dt="2024-10-18T09:35:34.745" v="190" actId="478"/>
          <ac:spMkLst>
            <pc:docMk/>
            <pc:sldMk cId="1122336503" sldId="410"/>
            <ac:spMk id="6" creationId="{12C9DDCB-645F-4C2B-B260-D7105D4E3CA5}"/>
          </ac:spMkLst>
        </pc:spChg>
        <pc:spChg chg="add del mod ord">
          <ac:chgData name="SP - Sonja Heynen-Pianka" userId="be06f938-f672-4a6f-92da-83ac3f6030d5" providerId="ADAL" clId="{3F730320-7DB8-4D73-8406-A5984B02EBBE}" dt="2024-10-18T09:35:39.907" v="192" actId="478"/>
          <ac:spMkLst>
            <pc:docMk/>
            <pc:sldMk cId="1122336503" sldId="410"/>
            <ac:spMk id="8" creationId="{C1F5248E-CFF9-C7AD-6ED5-76C40D85E4C0}"/>
          </ac:spMkLst>
        </pc:spChg>
        <pc:spChg chg="add del mod">
          <ac:chgData name="SP - Sonja Heynen-Pianka" userId="be06f938-f672-4a6f-92da-83ac3f6030d5" providerId="ADAL" clId="{3F730320-7DB8-4D73-8406-A5984B02EBBE}" dt="2024-10-18T09:36:23.344" v="203" actId="22"/>
          <ac:spMkLst>
            <pc:docMk/>
            <pc:sldMk cId="1122336503" sldId="410"/>
            <ac:spMk id="10" creationId="{1106CF73-96D6-400C-997A-BE2DD5185546}"/>
          </ac:spMkLst>
        </pc:spChg>
        <pc:picChg chg="mod">
          <ac:chgData name="SP - Sonja Heynen-Pianka" userId="be06f938-f672-4a6f-92da-83ac3f6030d5" providerId="ADAL" clId="{3F730320-7DB8-4D73-8406-A5984B02EBBE}" dt="2024-10-18T09:35:33.460" v="189" actId="1076"/>
          <ac:picMkLst>
            <pc:docMk/>
            <pc:sldMk cId="1122336503" sldId="410"/>
            <ac:picMk id="7" creationId="{B93C7C4F-3880-4695-B2D0-28407DEE9F3E}"/>
          </ac:picMkLst>
        </pc:picChg>
        <pc:picChg chg="mod">
          <ac:chgData name="SP - Sonja Heynen-Pianka" userId="be06f938-f672-4a6f-92da-83ac3f6030d5" providerId="ADAL" clId="{3F730320-7DB8-4D73-8406-A5984B02EBBE}" dt="2024-10-18T09:35:26.339" v="187" actId="1076"/>
          <ac:picMkLst>
            <pc:docMk/>
            <pc:sldMk cId="1122336503" sldId="410"/>
            <ac:picMk id="11" creationId="{00000000-0000-0000-0000-000000000000}"/>
          </ac:picMkLst>
        </pc:picChg>
        <pc:picChg chg="mod">
          <ac:chgData name="SP - Sonja Heynen-Pianka" userId="be06f938-f672-4a6f-92da-83ac3f6030d5" providerId="ADAL" clId="{3F730320-7DB8-4D73-8406-A5984B02EBBE}" dt="2024-10-18T09:35:37.867" v="191" actId="1076"/>
          <ac:picMkLst>
            <pc:docMk/>
            <pc:sldMk cId="1122336503" sldId="410"/>
            <ac:picMk id="13" creationId="{00000000-0000-0000-0000-000000000000}"/>
          </ac:picMkLst>
        </pc:picChg>
      </pc:sldChg>
      <pc:sldChg chg="delSp modSp del mod modNotes">
        <pc:chgData name="SP - Sonja Heynen-Pianka" userId="be06f938-f672-4a6f-92da-83ac3f6030d5" providerId="ADAL" clId="{3F730320-7DB8-4D73-8406-A5984B02EBBE}" dt="2024-10-18T09:29:38.985" v="112" actId="47"/>
        <pc:sldMkLst>
          <pc:docMk/>
          <pc:sldMk cId="628175011" sldId="411"/>
        </pc:sldMkLst>
        <pc:spChg chg="mod">
          <ac:chgData name="SP - Sonja Heynen-Pianka" userId="be06f938-f672-4a6f-92da-83ac3f6030d5" providerId="ADAL" clId="{3F730320-7DB8-4D73-8406-A5984B02EBBE}" dt="2024-10-18T09:29:05.428" v="103" actId="21"/>
          <ac:spMkLst>
            <pc:docMk/>
            <pc:sldMk cId="628175011" sldId="411"/>
            <ac:spMk id="2" creationId="{00000000-0000-0000-0000-000000000000}"/>
          </ac:spMkLst>
        </pc:spChg>
        <pc:spChg chg="mod">
          <ac:chgData name="SP - Sonja Heynen-Pianka" userId="be06f938-f672-4a6f-92da-83ac3f6030d5" providerId="ADAL" clId="{3F730320-7DB8-4D73-8406-A5984B02EBBE}" dt="2024-10-18T08:59:12.747" v="0"/>
          <ac:spMkLst>
            <pc:docMk/>
            <pc:sldMk cId="628175011" sldId="411"/>
            <ac:spMk id="3" creationId="{00000000-0000-0000-0000-000000000000}"/>
          </ac:spMkLst>
        </pc:spChg>
        <pc:spChg chg="mod">
          <ac:chgData name="SP - Sonja Heynen-Pianka" userId="be06f938-f672-4a6f-92da-83ac3f6030d5" providerId="ADAL" clId="{3F730320-7DB8-4D73-8406-A5984B02EBBE}" dt="2024-10-18T08:59:12.747" v="0"/>
          <ac:spMkLst>
            <pc:docMk/>
            <pc:sldMk cId="628175011" sldId="411"/>
            <ac:spMk id="4" creationId="{00000000-0000-0000-0000-000000000000}"/>
          </ac:spMkLst>
        </pc:spChg>
        <pc:spChg chg="mod">
          <ac:chgData name="SP - Sonja Heynen-Pianka" userId="be06f938-f672-4a6f-92da-83ac3f6030d5" providerId="ADAL" clId="{3F730320-7DB8-4D73-8406-A5984B02EBBE}" dt="2024-10-18T09:03:18.577" v="4"/>
          <ac:spMkLst>
            <pc:docMk/>
            <pc:sldMk cId="628175011" sldId="411"/>
            <ac:spMk id="5" creationId="{00000000-0000-0000-0000-000000000000}"/>
          </ac:spMkLst>
        </pc:spChg>
        <pc:picChg chg="del mod">
          <ac:chgData name="SP - Sonja Heynen-Pianka" userId="be06f938-f672-4a6f-92da-83ac3f6030d5" providerId="ADAL" clId="{3F730320-7DB8-4D73-8406-A5984B02EBBE}" dt="2024-10-18T09:29:21.895" v="105" actId="21"/>
          <ac:picMkLst>
            <pc:docMk/>
            <pc:sldMk cId="628175011" sldId="411"/>
            <ac:picMk id="8" creationId="{51FF3832-72B0-4C0F-9BA4-5CFCD457A71E}"/>
          </ac:picMkLst>
        </pc:picChg>
        <pc:picChg chg="del mod">
          <ac:chgData name="SP - Sonja Heynen-Pianka" userId="be06f938-f672-4a6f-92da-83ac3f6030d5" providerId="ADAL" clId="{3F730320-7DB8-4D73-8406-A5984B02EBBE}" dt="2024-10-18T09:29:21.895" v="105" actId="21"/>
          <ac:picMkLst>
            <pc:docMk/>
            <pc:sldMk cId="628175011" sldId="411"/>
            <ac:picMk id="12" creationId="{885EC4C0-B322-48A7-B8F3-379C2C3FA7B9}"/>
          </ac:picMkLst>
        </pc:picChg>
        <pc:picChg chg="del mod">
          <ac:chgData name="SP - Sonja Heynen-Pianka" userId="be06f938-f672-4a6f-92da-83ac3f6030d5" providerId="ADAL" clId="{3F730320-7DB8-4D73-8406-A5984B02EBBE}" dt="2024-10-18T09:29:21.895" v="105" actId="21"/>
          <ac:picMkLst>
            <pc:docMk/>
            <pc:sldMk cId="628175011" sldId="411"/>
            <ac:picMk id="14" creationId="{069285C0-4368-4E33-8683-6CBDEF887A34}"/>
          </ac:picMkLst>
        </pc:picChg>
        <pc:picChg chg="del mod">
          <ac:chgData name="SP - Sonja Heynen-Pianka" userId="be06f938-f672-4a6f-92da-83ac3f6030d5" providerId="ADAL" clId="{3F730320-7DB8-4D73-8406-A5984B02EBBE}" dt="2024-10-18T09:29:21.895" v="105" actId="21"/>
          <ac:picMkLst>
            <pc:docMk/>
            <pc:sldMk cId="628175011" sldId="411"/>
            <ac:picMk id="16" creationId="{A7038C49-D7C2-4AC1-8644-036F975E5EC3}"/>
          </ac:picMkLst>
        </pc:picChg>
      </pc:sldChg>
      <pc:sldChg chg="modSp del modNotes">
        <pc:chgData name="SP - Sonja Heynen-Pianka" userId="be06f938-f672-4a6f-92da-83ac3f6030d5" providerId="ADAL" clId="{3F730320-7DB8-4D73-8406-A5984B02EBBE}" dt="2024-10-18T09:38:37.222" v="245" actId="47"/>
        <pc:sldMkLst>
          <pc:docMk/>
          <pc:sldMk cId="3224146632" sldId="412"/>
        </pc:sldMkLst>
        <pc:spChg chg="mod">
          <ac:chgData name="SP - Sonja Heynen-Pianka" userId="be06f938-f672-4a6f-92da-83ac3f6030d5" providerId="ADAL" clId="{3F730320-7DB8-4D73-8406-A5984B02EBBE}" dt="2024-10-18T09:03:18.577" v="4"/>
          <ac:spMkLst>
            <pc:docMk/>
            <pc:sldMk cId="3224146632" sldId="412"/>
            <ac:spMk id="6" creationId="{00000000-0000-0000-0000-000000000000}"/>
          </ac:spMkLst>
        </pc:spChg>
      </pc:sldChg>
      <pc:sldChg chg="addSp delSp modSp new mod ord">
        <pc:chgData name="SP - Sonja Heynen-Pianka" userId="be06f938-f672-4a6f-92da-83ac3f6030d5" providerId="ADAL" clId="{3F730320-7DB8-4D73-8406-A5984B02EBBE}" dt="2024-10-18T09:39:15.341" v="250" actId="1076"/>
        <pc:sldMkLst>
          <pc:docMk/>
          <pc:sldMk cId="3888338714" sldId="413"/>
        </pc:sldMkLst>
        <pc:spChg chg="del">
          <ac:chgData name="SP - Sonja Heynen-Pianka" userId="be06f938-f672-4a6f-92da-83ac3f6030d5" providerId="ADAL" clId="{3F730320-7DB8-4D73-8406-A5984B02EBBE}" dt="2024-10-18T09:38:58.592" v="246" actId="478"/>
          <ac:spMkLst>
            <pc:docMk/>
            <pc:sldMk cId="3888338714" sldId="413"/>
            <ac:spMk id="2" creationId="{0DAAA11F-9082-6C82-10D6-FD09751EA6CB}"/>
          </ac:spMkLst>
        </pc:spChg>
        <pc:spChg chg="mod">
          <ac:chgData name="SP - Sonja Heynen-Pianka" userId="be06f938-f672-4a6f-92da-83ac3f6030d5" providerId="ADAL" clId="{3F730320-7DB8-4D73-8406-A5984B02EBBE}" dt="2024-10-18T09:03:30.003" v="5"/>
          <ac:spMkLst>
            <pc:docMk/>
            <pc:sldMk cId="3888338714" sldId="413"/>
            <ac:spMk id="3" creationId="{F5C58A5C-5074-4DC9-3354-EEB9ECEC395B}"/>
          </ac:spMkLst>
        </pc:spChg>
        <pc:picChg chg="add mod">
          <ac:chgData name="SP - Sonja Heynen-Pianka" userId="be06f938-f672-4a6f-92da-83ac3f6030d5" providerId="ADAL" clId="{3F730320-7DB8-4D73-8406-A5984B02EBBE}" dt="2024-10-18T09:39:03.574" v="248" actId="1076"/>
          <ac:picMkLst>
            <pc:docMk/>
            <pc:sldMk cId="3888338714" sldId="413"/>
            <ac:picMk id="5" creationId="{4902B1C4-2709-00F5-B11B-D32E24328C8E}"/>
          </ac:picMkLst>
        </pc:picChg>
        <pc:picChg chg="add mod">
          <ac:chgData name="SP - Sonja Heynen-Pianka" userId="be06f938-f672-4a6f-92da-83ac3f6030d5" providerId="ADAL" clId="{3F730320-7DB8-4D73-8406-A5984B02EBBE}" dt="2024-10-18T09:39:03.574" v="248" actId="1076"/>
          <ac:picMkLst>
            <pc:docMk/>
            <pc:sldMk cId="3888338714" sldId="413"/>
            <ac:picMk id="6" creationId="{7F9A3C03-297E-AA30-C011-627200C82E95}"/>
          </ac:picMkLst>
        </pc:picChg>
        <pc:picChg chg="add mod">
          <ac:chgData name="SP - Sonja Heynen-Pianka" userId="be06f938-f672-4a6f-92da-83ac3f6030d5" providerId="ADAL" clId="{3F730320-7DB8-4D73-8406-A5984B02EBBE}" dt="2024-10-18T09:39:03.574" v="248" actId="1076"/>
          <ac:picMkLst>
            <pc:docMk/>
            <pc:sldMk cId="3888338714" sldId="413"/>
            <ac:picMk id="7" creationId="{D8764066-113D-9E51-FEB5-8FFE5F086764}"/>
          </ac:picMkLst>
        </pc:picChg>
        <pc:picChg chg="add mod">
          <ac:chgData name="SP - Sonja Heynen-Pianka" userId="be06f938-f672-4a6f-92da-83ac3f6030d5" providerId="ADAL" clId="{3F730320-7DB8-4D73-8406-A5984B02EBBE}" dt="2024-10-18T09:39:15.341" v="250" actId="1076"/>
          <ac:picMkLst>
            <pc:docMk/>
            <pc:sldMk cId="3888338714" sldId="413"/>
            <ac:picMk id="8" creationId="{A3581558-E278-07EA-0973-34EC947F2A81}"/>
          </ac:picMkLst>
        </pc:picChg>
      </pc:sldChg>
      <pc:sldChg chg="addSp delSp modSp new mod modClrScheme chgLayout">
        <pc:chgData name="SP - Sonja Heynen-Pianka" userId="be06f938-f672-4a6f-92da-83ac3f6030d5" providerId="ADAL" clId="{3F730320-7DB8-4D73-8406-A5984B02EBBE}" dt="2024-10-18T09:06:45.322" v="30"/>
        <pc:sldMkLst>
          <pc:docMk/>
          <pc:sldMk cId="2914450723" sldId="414"/>
        </pc:sldMkLst>
        <pc:spChg chg="mod">
          <ac:chgData name="SP - Sonja Heynen-Pianka" userId="be06f938-f672-4a6f-92da-83ac3f6030d5" providerId="ADAL" clId="{3F730320-7DB8-4D73-8406-A5984B02EBBE}" dt="2024-10-18T09:06:15.858" v="24" actId="26606"/>
          <ac:spMkLst>
            <pc:docMk/>
            <pc:sldMk cId="2914450723" sldId="414"/>
            <ac:spMk id="2" creationId="{26F79BC6-A41B-0661-103D-15EF9A6B8676}"/>
          </ac:spMkLst>
        </pc:spChg>
        <pc:spChg chg="del">
          <ac:chgData name="SP - Sonja Heynen-Pianka" userId="be06f938-f672-4a6f-92da-83ac3f6030d5" providerId="ADAL" clId="{3F730320-7DB8-4D73-8406-A5984B02EBBE}" dt="2024-10-18T09:06:08.651" v="23"/>
          <ac:spMkLst>
            <pc:docMk/>
            <pc:sldMk cId="2914450723" sldId="414"/>
            <ac:spMk id="3" creationId="{1751EE2B-C91D-1721-212D-0A9E0733EA37}"/>
          </ac:spMkLst>
        </pc:spChg>
        <pc:spChg chg="del">
          <ac:chgData name="SP - Sonja Heynen-Pianka" userId="be06f938-f672-4a6f-92da-83ac3f6030d5" providerId="ADAL" clId="{3F730320-7DB8-4D73-8406-A5984B02EBBE}" dt="2024-10-18T09:06:15.858" v="24" actId="26606"/>
          <ac:spMkLst>
            <pc:docMk/>
            <pc:sldMk cId="2914450723" sldId="414"/>
            <ac:spMk id="4" creationId="{5FA932C7-8304-0EAA-E825-954F4A42CF26}"/>
          </ac:spMkLst>
        </pc:spChg>
        <pc:spChg chg="mod">
          <ac:chgData name="SP - Sonja Heynen-Pianka" userId="be06f938-f672-4a6f-92da-83ac3f6030d5" providerId="ADAL" clId="{3F730320-7DB8-4D73-8406-A5984B02EBBE}" dt="2024-10-18T09:06:15.858" v="24" actId="26606"/>
          <ac:spMkLst>
            <pc:docMk/>
            <pc:sldMk cId="2914450723" sldId="414"/>
            <ac:spMk id="5" creationId="{30FF6393-E17E-77AD-6E35-190A93615B9B}"/>
          </ac:spMkLst>
        </pc:spChg>
        <pc:spChg chg="del">
          <ac:chgData name="SP - Sonja Heynen-Pianka" userId="be06f938-f672-4a6f-92da-83ac3f6030d5" providerId="ADAL" clId="{3F730320-7DB8-4D73-8406-A5984B02EBBE}" dt="2024-10-18T09:06:15.858" v="24" actId="26606"/>
          <ac:spMkLst>
            <pc:docMk/>
            <pc:sldMk cId="2914450723" sldId="414"/>
            <ac:spMk id="6" creationId="{8039B9CD-F255-B8A5-F566-68B4A868FD41}"/>
          </ac:spMkLst>
        </pc:spChg>
        <pc:spChg chg="del">
          <ac:chgData name="SP - Sonja Heynen-Pianka" userId="be06f938-f672-4a6f-92da-83ac3f6030d5" providerId="ADAL" clId="{3F730320-7DB8-4D73-8406-A5984B02EBBE}" dt="2024-10-18T09:06:15.858" v="24" actId="26606"/>
          <ac:spMkLst>
            <pc:docMk/>
            <pc:sldMk cId="2914450723" sldId="414"/>
            <ac:spMk id="7" creationId="{B7E6F695-AA53-E884-7A32-4EC0FFAB9146}"/>
          </ac:spMkLst>
        </pc:spChg>
        <pc:spChg chg="add del mod">
          <ac:chgData name="SP - Sonja Heynen-Pianka" userId="be06f938-f672-4a6f-92da-83ac3f6030d5" providerId="ADAL" clId="{3F730320-7DB8-4D73-8406-A5984B02EBBE}" dt="2024-10-18T09:06:28.545" v="26" actId="478"/>
          <ac:spMkLst>
            <pc:docMk/>
            <pc:sldMk cId="2914450723" sldId="414"/>
            <ac:spMk id="9" creationId="{344EC1A1-C9BA-1820-BDAA-F25DE167C210}"/>
          </ac:spMkLst>
        </pc:spChg>
        <pc:spChg chg="add mod">
          <ac:chgData name="SP - Sonja Heynen-Pianka" userId="be06f938-f672-4a6f-92da-83ac3f6030d5" providerId="ADAL" clId="{3F730320-7DB8-4D73-8406-A5984B02EBBE}" dt="2024-10-18T09:06:45.322" v="30"/>
          <ac:spMkLst>
            <pc:docMk/>
            <pc:sldMk cId="2914450723" sldId="414"/>
            <ac:spMk id="13" creationId="{D9F426ED-C102-F2BC-3A1F-F862E311543B}"/>
          </ac:spMkLst>
        </pc:spChg>
        <pc:spChg chg="add mod">
          <ac:chgData name="SP - Sonja Heynen-Pianka" userId="be06f938-f672-4a6f-92da-83ac3f6030d5" providerId="ADAL" clId="{3F730320-7DB8-4D73-8406-A5984B02EBBE}" dt="2024-10-18T09:06:15.858" v="24" actId="26606"/>
          <ac:spMkLst>
            <pc:docMk/>
            <pc:sldMk cId="2914450723" sldId="414"/>
            <ac:spMk id="15" creationId="{2044379C-95F3-9C73-3587-9DDA20C328EE}"/>
          </ac:spMkLst>
        </pc:spChg>
        <pc:spChg chg="add mod">
          <ac:chgData name="SP - Sonja Heynen-Pianka" userId="be06f938-f672-4a6f-92da-83ac3f6030d5" providerId="ADAL" clId="{3F730320-7DB8-4D73-8406-A5984B02EBBE}" dt="2024-10-18T09:06:15.858" v="24" actId="26606"/>
          <ac:spMkLst>
            <pc:docMk/>
            <pc:sldMk cId="2914450723" sldId="414"/>
            <ac:spMk id="17" creationId="{D2D19E98-761D-B258-F276-86B811BBB5B2}"/>
          </ac:spMkLst>
        </pc:spChg>
        <pc:picChg chg="add del mod">
          <ac:chgData name="SP - Sonja Heynen-Pianka" userId="be06f938-f672-4a6f-92da-83ac3f6030d5" providerId="ADAL" clId="{3F730320-7DB8-4D73-8406-A5984B02EBBE}" dt="2024-10-18T09:06:25.324" v="25" actId="478"/>
          <ac:picMkLst>
            <pc:docMk/>
            <pc:sldMk cId="2914450723" sldId="414"/>
            <ac:picMk id="8" creationId="{DC4EF0EB-4147-FCE0-D905-B298380784A1}"/>
          </ac:picMkLst>
        </pc:picChg>
        <pc:picChg chg="add mod">
          <ac:chgData name="SP - Sonja Heynen-Pianka" userId="be06f938-f672-4a6f-92da-83ac3f6030d5" providerId="ADAL" clId="{3F730320-7DB8-4D73-8406-A5984B02EBBE}" dt="2024-10-18T09:06:34.937" v="29" actId="1076"/>
          <ac:picMkLst>
            <pc:docMk/>
            <pc:sldMk cId="2914450723" sldId="414"/>
            <ac:picMk id="10" creationId="{8536C20D-8A6D-C570-E2A8-CE971688C789}"/>
          </ac:picMkLst>
        </pc:picChg>
      </pc:sldChg>
      <pc:sldChg chg="new del">
        <pc:chgData name="SP - Sonja Heynen-Pianka" userId="be06f938-f672-4a6f-92da-83ac3f6030d5" providerId="ADAL" clId="{3F730320-7DB8-4D73-8406-A5984B02EBBE}" dt="2024-10-18T09:04:07.691" v="9" actId="680"/>
        <pc:sldMkLst>
          <pc:docMk/>
          <pc:sldMk cId="3512263875" sldId="414"/>
        </pc:sldMkLst>
      </pc:sldChg>
      <pc:sldChg chg="modSp new mod">
        <pc:chgData name="SP - Sonja Heynen-Pianka" userId="be06f938-f672-4a6f-92da-83ac3f6030d5" providerId="ADAL" clId="{3F730320-7DB8-4D73-8406-A5984B02EBBE}" dt="2024-10-18T09:53:23.663" v="287" actId="6549"/>
        <pc:sldMkLst>
          <pc:docMk/>
          <pc:sldMk cId="3127598447" sldId="415"/>
        </pc:sldMkLst>
        <pc:spChg chg="mod">
          <ac:chgData name="SP - Sonja Heynen-Pianka" userId="be06f938-f672-4a6f-92da-83ac3f6030d5" providerId="ADAL" clId="{3F730320-7DB8-4D73-8406-A5984B02EBBE}" dt="2024-10-18T09:07:19.881" v="33"/>
          <ac:spMkLst>
            <pc:docMk/>
            <pc:sldMk cId="3127598447" sldId="415"/>
            <ac:spMk id="2" creationId="{91A57ECC-DF0D-5C94-72AD-2B7821E1D8D8}"/>
          </ac:spMkLst>
        </pc:spChg>
        <pc:spChg chg="mod">
          <ac:chgData name="SP - Sonja Heynen-Pianka" userId="be06f938-f672-4a6f-92da-83ac3f6030d5" providerId="ADAL" clId="{3F730320-7DB8-4D73-8406-A5984B02EBBE}" dt="2024-10-18T09:53:23.663" v="287" actId="6549"/>
          <ac:spMkLst>
            <pc:docMk/>
            <pc:sldMk cId="3127598447" sldId="415"/>
            <ac:spMk id="3" creationId="{9768B684-4D3F-4DAB-4378-A924888681F0}"/>
          </ac:spMkLst>
        </pc:spChg>
      </pc:sldChg>
      <pc:sldChg chg="addSp delSp modSp add mod">
        <pc:chgData name="SP - Sonja Heynen-Pianka" userId="be06f938-f672-4a6f-92da-83ac3f6030d5" providerId="ADAL" clId="{3F730320-7DB8-4D73-8406-A5984B02EBBE}" dt="2024-10-18T09:53:34.309" v="289" actId="12"/>
        <pc:sldMkLst>
          <pc:docMk/>
          <pc:sldMk cId="2770000253" sldId="416"/>
        </pc:sldMkLst>
        <pc:spChg chg="mod">
          <ac:chgData name="SP - Sonja Heynen-Pianka" userId="be06f938-f672-4a6f-92da-83ac3f6030d5" providerId="ADAL" clId="{3F730320-7DB8-4D73-8406-A5984B02EBBE}" dt="2024-10-18T09:26:03.155" v="38" actId="255"/>
          <ac:spMkLst>
            <pc:docMk/>
            <pc:sldMk cId="2770000253" sldId="416"/>
            <ac:spMk id="2" creationId="{C934C886-0250-CB81-87EB-36676A378D8D}"/>
          </ac:spMkLst>
        </pc:spChg>
        <pc:spChg chg="mod">
          <ac:chgData name="SP - Sonja Heynen-Pianka" userId="be06f938-f672-4a6f-92da-83ac3f6030d5" providerId="ADAL" clId="{3F730320-7DB8-4D73-8406-A5984B02EBBE}" dt="2024-10-18T09:53:34.309" v="289" actId="12"/>
          <ac:spMkLst>
            <pc:docMk/>
            <pc:sldMk cId="2770000253" sldId="416"/>
            <ac:spMk id="3" creationId="{81CF653F-F86F-1D67-88C3-E0BBA2B7476C}"/>
          </ac:spMkLst>
        </pc:spChg>
        <pc:spChg chg="del">
          <ac:chgData name="SP - Sonja Heynen-Pianka" userId="be06f938-f672-4a6f-92da-83ac3f6030d5" providerId="ADAL" clId="{3F730320-7DB8-4D73-8406-A5984B02EBBE}" dt="2024-10-18T09:37:31.030" v="235" actId="478"/>
          <ac:spMkLst>
            <pc:docMk/>
            <pc:sldMk cId="2770000253" sldId="416"/>
            <ac:spMk id="6" creationId="{237FFAD6-62BB-F7C8-D472-6ECB3FD304F7}"/>
          </ac:spMkLst>
        </pc:spChg>
        <pc:picChg chg="add mod">
          <ac:chgData name="SP - Sonja Heynen-Pianka" userId="be06f938-f672-4a6f-92da-83ac3f6030d5" providerId="ADAL" clId="{3F730320-7DB8-4D73-8406-A5984B02EBBE}" dt="2024-10-18T09:26:56.324" v="44" actId="1076"/>
          <ac:picMkLst>
            <pc:docMk/>
            <pc:sldMk cId="2770000253" sldId="416"/>
            <ac:picMk id="7" creationId="{6B148823-1522-728B-03F7-F86D1292E543}"/>
          </ac:picMkLst>
        </pc:picChg>
      </pc:sldChg>
      <pc:sldChg chg="addSp delSp modSp add mod">
        <pc:chgData name="SP - Sonja Heynen-Pianka" userId="be06f938-f672-4a6f-92da-83ac3f6030d5" providerId="ADAL" clId="{3F730320-7DB8-4D73-8406-A5984B02EBBE}" dt="2024-10-18T09:51:02.723" v="255"/>
        <pc:sldMkLst>
          <pc:docMk/>
          <pc:sldMk cId="1177073652" sldId="417"/>
        </pc:sldMkLst>
        <pc:spChg chg="mod">
          <ac:chgData name="SP - Sonja Heynen-Pianka" userId="be06f938-f672-4a6f-92da-83ac3f6030d5" providerId="ADAL" clId="{3F730320-7DB8-4D73-8406-A5984B02EBBE}" dt="2024-10-18T09:51:02.723" v="255"/>
          <ac:spMkLst>
            <pc:docMk/>
            <pc:sldMk cId="1177073652" sldId="417"/>
            <ac:spMk id="6" creationId="{884D1C7D-FB79-C494-A628-CD61DADEFB68}"/>
          </ac:spMkLst>
        </pc:spChg>
        <pc:spChg chg="mod">
          <ac:chgData name="SP - Sonja Heynen-Pianka" userId="be06f938-f672-4a6f-92da-83ac3f6030d5" providerId="ADAL" clId="{3F730320-7DB8-4D73-8406-A5984B02EBBE}" dt="2024-10-18T09:28:42.137" v="102" actId="20577"/>
          <ac:spMkLst>
            <pc:docMk/>
            <pc:sldMk cId="1177073652" sldId="417"/>
            <ac:spMk id="13" creationId="{FEBCE093-ECFD-59CB-B39E-D6E87610FC39}"/>
          </ac:spMkLst>
        </pc:spChg>
        <pc:picChg chg="add mod">
          <ac:chgData name="SP - Sonja Heynen-Pianka" userId="be06f938-f672-4a6f-92da-83ac3f6030d5" providerId="ADAL" clId="{3F730320-7DB8-4D73-8406-A5984B02EBBE}" dt="2024-10-18T09:29:36.426" v="111" actId="1076"/>
          <ac:picMkLst>
            <pc:docMk/>
            <pc:sldMk cId="1177073652" sldId="417"/>
            <ac:picMk id="2" creationId="{51FF3832-72B0-4C0F-9BA4-5CFCD457A71E}"/>
          </ac:picMkLst>
        </pc:picChg>
        <pc:picChg chg="del">
          <ac:chgData name="SP - Sonja Heynen-Pianka" userId="be06f938-f672-4a6f-92da-83ac3f6030d5" providerId="ADAL" clId="{3F730320-7DB8-4D73-8406-A5984B02EBBE}" dt="2024-10-18T09:29:25.869" v="107" actId="478"/>
          <ac:picMkLst>
            <pc:docMk/>
            <pc:sldMk cId="1177073652" sldId="417"/>
            <ac:picMk id="7" creationId="{D2E82528-8C41-1EFE-AE90-F3972461966D}"/>
          </ac:picMkLst>
        </pc:picChg>
        <pc:picChg chg="del">
          <ac:chgData name="SP - Sonja Heynen-Pianka" userId="be06f938-f672-4a6f-92da-83ac3f6030d5" providerId="ADAL" clId="{3F730320-7DB8-4D73-8406-A5984B02EBBE}" dt="2024-10-18T09:29:25.116" v="106" actId="478"/>
          <ac:picMkLst>
            <pc:docMk/>
            <pc:sldMk cId="1177073652" sldId="417"/>
            <ac:picMk id="8" creationId="{59233AF1-DCBB-74CA-0B70-7C5EEC703362}"/>
          </ac:picMkLst>
        </pc:picChg>
        <pc:picChg chg="del">
          <ac:chgData name="SP - Sonja Heynen-Pianka" userId="be06f938-f672-4a6f-92da-83ac3f6030d5" providerId="ADAL" clId="{3F730320-7DB8-4D73-8406-A5984B02EBBE}" dt="2024-10-18T09:29:26.578" v="108" actId="478"/>
          <ac:picMkLst>
            <pc:docMk/>
            <pc:sldMk cId="1177073652" sldId="417"/>
            <ac:picMk id="9" creationId="{A2AD6748-3A0B-2634-F33F-63C7CB95F6A1}"/>
          </ac:picMkLst>
        </pc:picChg>
        <pc:picChg chg="del">
          <ac:chgData name="SP - Sonja Heynen-Pianka" userId="be06f938-f672-4a6f-92da-83ac3f6030d5" providerId="ADAL" clId="{3F730320-7DB8-4D73-8406-A5984B02EBBE}" dt="2024-10-18T09:29:30.089" v="109" actId="478"/>
          <ac:picMkLst>
            <pc:docMk/>
            <pc:sldMk cId="1177073652" sldId="417"/>
            <ac:picMk id="11" creationId="{F4F41EBB-548C-25E1-F351-DAA8D743F30E}"/>
          </ac:picMkLst>
        </pc:picChg>
        <pc:picChg chg="add mod">
          <ac:chgData name="SP - Sonja Heynen-Pianka" userId="be06f938-f672-4a6f-92da-83ac3f6030d5" providerId="ADAL" clId="{3F730320-7DB8-4D73-8406-A5984B02EBBE}" dt="2024-10-18T09:29:36.426" v="111" actId="1076"/>
          <ac:picMkLst>
            <pc:docMk/>
            <pc:sldMk cId="1177073652" sldId="417"/>
            <ac:picMk id="12" creationId="{885EC4C0-B322-48A7-B8F3-379C2C3FA7B9}"/>
          </ac:picMkLst>
        </pc:picChg>
        <pc:picChg chg="add mod">
          <ac:chgData name="SP - Sonja Heynen-Pianka" userId="be06f938-f672-4a6f-92da-83ac3f6030d5" providerId="ADAL" clId="{3F730320-7DB8-4D73-8406-A5984B02EBBE}" dt="2024-10-18T09:29:36.426" v="111" actId="1076"/>
          <ac:picMkLst>
            <pc:docMk/>
            <pc:sldMk cId="1177073652" sldId="417"/>
            <ac:picMk id="14" creationId="{069285C0-4368-4E33-8683-6CBDEF887A34}"/>
          </ac:picMkLst>
        </pc:picChg>
        <pc:picChg chg="add mod">
          <ac:chgData name="SP - Sonja Heynen-Pianka" userId="be06f938-f672-4a6f-92da-83ac3f6030d5" providerId="ADAL" clId="{3F730320-7DB8-4D73-8406-A5984B02EBBE}" dt="2024-10-18T09:29:36.426" v="111" actId="1076"/>
          <ac:picMkLst>
            <pc:docMk/>
            <pc:sldMk cId="1177073652" sldId="417"/>
            <ac:picMk id="16" creationId="{A7038C49-D7C2-4AC1-8644-036F975E5EC3}"/>
          </ac:picMkLst>
        </pc:picChg>
      </pc:sldChg>
      <pc:sldChg chg="addSp delSp modSp add mod">
        <pc:chgData name="SP - Sonja Heynen-Pianka" userId="be06f938-f672-4a6f-92da-83ac3f6030d5" providerId="ADAL" clId="{3F730320-7DB8-4D73-8406-A5984B02EBBE}" dt="2024-10-18T09:56:23.892" v="492" actId="12"/>
        <pc:sldMkLst>
          <pc:docMk/>
          <pc:sldMk cId="3128504347" sldId="418"/>
        </pc:sldMkLst>
        <pc:spChg chg="del">
          <ac:chgData name="SP - Sonja Heynen-Pianka" userId="be06f938-f672-4a6f-92da-83ac3f6030d5" providerId="ADAL" clId="{3F730320-7DB8-4D73-8406-A5984B02EBBE}" dt="2024-10-18T09:30:45.762" v="128" actId="478"/>
          <ac:spMkLst>
            <pc:docMk/>
            <pc:sldMk cId="3128504347" sldId="418"/>
            <ac:spMk id="4" creationId="{7F870876-D42F-FA68-5511-9E53D80E0059}"/>
          </ac:spMkLst>
        </pc:spChg>
        <pc:spChg chg="mod">
          <ac:chgData name="SP - Sonja Heynen-Pianka" userId="be06f938-f672-4a6f-92da-83ac3f6030d5" providerId="ADAL" clId="{3F730320-7DB8-4D73-8406-A5984B02EBBE}" dt="2024-10-18T09:56:23.892" v="492" actId="12"/>
          <ac:spMkLst>
            <pc:docMk/>
            <pc:sldMk cId="3128504347" sldId="418"/>
            <ac:spMk id="6" creationId="{EC555718-A545-E66A-3005-9A794E03EBAD}"/>
          </ac:spMkLst>
        </pc:spChg>
        <pc:spChg chg="mod">
          <ac:chgData name="SP - Sonja Heynen-Pianka" userId="be06f938-f672-4a6f-92da-83ac3f6030d5" providerId="ADAL" clId="{3F730320-7DB8-4D73-8406-A5984B02EBBE}" dt="2024-10-18T09:30:17.344" v="122" actId="20577"/>
          <ac:spMkLst>
            <pc:docMk/>
            <pc:sldMk cId="3128504347" sldId="418"/>
            <ac:spMk id="13" creationId="{FB671D38-48A1-2E33-D4AF-129FDAC083FC}"/>
          </ac:spMkLst>
        </pc:spChg>
        <pc:picChg chg="add mod">
          <ac:chgData name="SP - Sonja Heynen-Pianka" userId="be06f938-f672-4a6f-92da-83ac3f6030d5" providerId="ADAL" clId="{3F730320-7DB8-4D73-8406-A5984B02EBBE}" dt="2024-10-18T09:30:55.461" v="129" actId="1076"/>
          <ac:picMkLst>
            <pc:docMk/>
            <pc:sldMk cId="3128504347" sldId="418"/>
            <ac:picMk id="5" creationId="{00000000-0000-0000-0000-000000000000}"/>
          </ac:picMkLst>
        </pc:picChg>
        <pc:picChg chg="add mod">
          <ac:chgData name="SP - Sonja Heynen-Pianka" userId="be06f938-f672-4a6f-92da-83ac3f6030d5" providerId="ADAL" clId="{3F730320-7DB8-4D73-8406-A5984B02EBBE}" dt="2024-10-18T09:30:41.006" v="127" actId="1076"/>
          <ac:picMkLst>
            <pc:docMk/>
            <pc:sldMk cId="3128504347" sldId="418"/>
            <ac:picMk id="10" creationId="{00000000-0000-0000-0000-000000000000}"/>
          </ac:picMkLst>
        </pc:picChg>
        <pc:picChg chg="del">
          <ac:chgData name="SP - Sonja Heynen-Pianka" userId="be06f938-f672-4a6f-92da-83ac3f6030d5" providerId="ADAL" clId="{3F730320-7DB8-4D73-8406-A5984B02EBBE}" dt="2024-10-18T09:30:31.880" v="124" actId="478"/>
          <ac:picMkLst>
            <pc:docMk/>
            <pc:sldMk cId="3128504347" sldId="418"/>
            <ac:picMk id="12" creationId="{A7A1358C-697F-3C6F-5E88-64A0E353FDEA}"/>
          </ac:picMkLst>
        </pc:picChg>
        <pc:picChg chg="del">
          <ac:chgData name="SP - Sonja Heynen-Pianka" userId="be06f938-f672-4a6f-92da-83ac3f6030d5" providerId="ADAL" clId="{3F730320-7DB8-4D73-8406-A5984B02EBBE}" dt="2024-10-18T09:30:31.880" v="124" actId="478"/>
          <ac:picMkLst>
            <pc:docMk/>
            <pc:sldMk cId="3128504347" sldId="418"/>
            <ac:picMk id="14" creationId="{3509A4E6-DB71-046E-F057-7056745BB41A}"/>
          </ac:picMkLst>
        </pc:picChg>
        <pc:picChg chg="del">
          <ac:chgData name="SP - Sonja Heynen-Pianka" userId="be06f938-f672-4a6f-92da-83ac3f6030d5" providerId="ADAL" clId="{3F730320-7DB8-4D73-8406-A5984B02EBBE}" dt="2024-10-18T09:30:31.880" v="124" actId="478"/>
          <ac:picMkLst>
            <pc:docMk/>
            <pc:sldMk cId="3128504347" sldId="418"/>
            <ac:picMk id="16" creationId="{AC6635DD-EA9E-9369-F35B-BB80ACF89649}"/>
          </ac:picMkLst>
        </pc:picChg>
      </pc:sldChg>
      <pc:sldChg chg="new">
        <pc:chgData name="SP - Sonja Heynen-Pianka" userId="be06f938-f672-4a6f-92da-83ac3f6030d5" providerId="ADAL" clId="{3F730320-7DB8-4D73-8406-A5984B02EBBE}" dt="2024-10-18T09:38:33.438" v="243" actId="680"/>
        <pc:sldMkLst>
          <pc:docMk/>
          <pc:sldMk cId="3321142282" sldId="419"/>
        </pc:sldMkLst>
      </pc:sldChg>
      <pc:sldMasterChg chg="modSp delSldLayout modSldLayout">
        <pc:chgData name="SP - Sonja Heynen-Pianka" userId="be06f938-f672-4a6f-92da-83ac3f6030d5" providerId="ADAL" clId="{3F730320-7DB8-4D73-8406-A5984B02EBBE}" dt="2024-10-18T09:38:37.222" v="245" actId="47"/>
        <pc:sldMasterMkLst>
          <pc:docMk/>
          <pc:sldMasterMk cId="3944855220" sldId="2147483684"/>
        </pc:sldMasterMkLst>
        <pc:spChg chg="mod">
          <ac:chgData name="SP - Sonja Heynen-Pianka" userId="be06f938-f672-4a6f-92da-83ac3f6030d5" providerId="ADAL" clId="{3F730320-7DB8-4D73-8406-A5984B02EBBE}" dt="2024-10-18T09:03:18.577" v="4"/>
          <ac:spMkLst>
            <pc:docMk/>
            <pc:sldMasterMk cId="3944855220" sldId="2147483684"/>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ac:spMk id="4" creationId="{13D55251-FCD2-098F-C711-80A025A5E87A}"/>
          </ac:spMkLst>
        </pc:spChg>
        <pc:spChg chg="mod">
          <ac:chgData name="SP - Sonja Heynen-Pianka" userId="be06f938-f672-4a6f-92da-83ac3f6030d5" providerId="ADAL" clId="{3F730320-7DB8-4D73-8406-A5984B02EBBE}" dt="2024-10-18T09:03:18.577" v="4"/>
          <ac:spMkLst>
            <pc:docMk/>
            <pc:sldMasterMk cId="3944855220" sldId="2147483684"/>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ac:spMk id="6"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ac:spMk id="10" creationId="{07F6F746-2D84-BA82-F1D5-8408966C1429}"/>
          </ac:spMkLst>
        </pc:spChg>
        <pc:spChg chg="mod">
          <ac:chgData name="SP - Sonja Heynen-Pianka" userId="be06f938-f672-4a6f-92da-83ac3f6030d5" providerId="ADAL" clId="{3F730320-7DB8-4D73-8406-A5984B02EBBE}" dt="2024-10-18T09:03:18.577" v="4"/>
          <ac:spMkLst>
            <pc:docMk/>
            <pc:sldMasterMk cId="3944855220" sldId="2147483684"/>
            <ac:spMk id="12" creationId="{3276C4E7-2150-9115-C80C-C154CE7C98F4}"/>
          </ac:spMkLst>
        </pc:spChg>
        <pc:spChg chg="mod">
          <ac:chgData name="SP - Sonja Heynen-Pianka" userId="be06f938-f672-4a6f-92da-83ac3f6030d5" providerId="ADAL" clId="{3F730320-7DB8-4D73-8406-A5984B02EBBE}" dt="2024-10-18T09:03:18.577" v="4"/>
          <ac:spMkLst>
            <pc:docMk/>
            <pc:sldMasterMk cId="3944855220" sldId="2147483684"/>
            <ac:spMk id="14" creationId="{A591A36D-AC9D-096F-A586-ED2A6A4899AD}"/>
          </ac:spMkLst>
        </pc:spChg>
        <pc:picChg chg="mod">
          <ac:chgData name="SP - Sonja Heynen-Pianka" userId="be06f938-f672-4a6f-92da-83ac3f6030d5" providerId="ADAL" clId="{3F730320-7DB8-4D73-8406-A5984B02EBBE}" dt="2024-10-18T09:03:18.577" v="4"/>
          <ac:picMkLst>
            <pc:docMk/>
            <pc:sldMasterMk cId="3944855220" sldId="2147483684"/>
            <ac:picMk id="7" creationId="{3FCCF094-3B00-E116-643D-AB56DC9D9867}"/>
          </ac:picMkLst>
        </pc:picChg>
        <pc:picChg chg="mod">
          <ac:chgData name="SP - Sonja Heynen-Pianka" userId="be06f938-f672-4a6f-92da-83ac3f6030d5" providerId="ADAL" clId="{3F730320-7DB8-4D73-8406-A5984B02EBBE}" dt="2024-10-18T09:03:18.577" v="4"/>
          <ac:picMkLst>
            <pc:docMk/>
            <pc:sldMasterMk cId="3944855220" sldId="2147483684"/>
            <ac:picMk id="11" creationId="{4EA6ABFF-5CB7-86B2-6BB1-68F840487650}"/>
          </ac:picMkLst>
        </pc:pic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1309790558" sldId="2147483650"/>
          </pc:sldLayoutMkLst>
          <pc:spChg chg="mod">
            <ac:chgData name="SP - Sonja Heynen-Pianka" userId="be06f938-f672-4a6f-92da-83ac3f6030d5" providerId="ADAL" clId="{3F730320-7DB8-4D73-8406-A5984B02EBBE}" dt="2024-10-18T09:03:18.577" v="4"/>
            <ac:spMkLst>
              <pc:docMk/>
              <pc:sldMasterMk cId="3944855220" sldId="2147483684"/>
              <pc:sldLayoutMk cId="1309790558" sldId="2147483650"/>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309790558" sldId="2147483650"/>
              <ac:spMk id="7"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2585616686" sldId="2147483652"/>
          </pc:sldLayoutMkLst>
          <pc:spChg chg="mod">
            <ac:chgData name="SP - Sonja Heynen-Pianka" userId="be06f938-f672-4a6f-92da-83ac3f6030d5" providerId="ADAL" clId="{3F730320-7DB8-4D73-8406-A5984B02EBBE}" dt="2024-10-18T09:03:18.577" v="4"/>
            <ac:spMkLst>
              <pc:docMk/>
              <pc:sldMasterMk cId="3944855220" sldId="2147483684"/>
              <pc:sldLayoutMk cId="2585616686" sldId="2147483652"/>
              <ac:spMk id="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85616686" sldId="2147483652"/>
              <ac:spMk id="9"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2196464201" sldId="2147483653"/>
          </pc:sldLayoutMkLst>
          <pc:spChg chg="mod">
            <ac:chgData name="SP - Sonja Heynen-Pianka" userId="be06f938-f672-4a6f-92da-83ac3f6030d5" providerId="ADAL" clId="{3F730320-7DB8-4D73-8406-A5984B02EBBE}" dt="2024-10-18T09:03:18.577" v="4"/>
            <ac:spMkLst>
              <pc:docMk/>
              <pc:sldMasterMk cId="3944855220" sldId="2147483684"/>
              <pc:sldLayoutMk cId="2196464201" sldId="2147483653"/>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196464201" sldId="2147483653"/>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196464201" sldId="2147483653"/>
              <ac:spMk id="10"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196464201" sldId="2147483653"/>
              <ac:spMk id="11"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1012853667" sldId="2147483654"/>
          </pc:sldLayoutMkLst>
          <pc:spChg chg="mod">
            <ac:chgData name="SP - Sonja Heynen-Pianka" userId="be06f938-f672-4a6f-92da-83ac3f6030d5" providerId="ADAL" clId="{3F730320-7DB8-4D73-8406-A5984B02EBBE}" dt="2024-10-18T09:03:18.577" v="4"/>
            <ac:spMkLst>
              <pc:docMk/>
              <pc:sldMasterMk cId="3944855220" sldId="2147483684"/>
              <pc:sldLayoutMk cId="1012853667" sldId="2147483654"/>
              <ac:spMk id="3"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2529212066" sldId="2147483672"/>
          </pc:sldLayoutMkLst>
          <pc:spChg chg="mod">
            <ac:chgData name="SP - Sonja Heynen-Pianka" userId="be06f938-f672-4a6f-92da-83ac3f6030d5" providerId="ADAL" clId="{3F730320-7DB8-4D73-8406-A5984B02EBBE}" dt="2024-10-18T09:03:18.577" v="4"/>
            <ac:spMkLst>
              <pc:docMk/>
              <pc:sldMasterMk cId="3944855220" sldId="2147483684"/>
              <pc:sldLayoutMk cId="2529212066" sldId="2147483672"/>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29212066" sldId="2147483672"/>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29212066" sldId="2147483672"/>
              <ac:spMk id="6"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29212066" sldId="2147483672"/>
              <ac:spMk id="11"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29212066" sldId="2147483672"/>
              <ac:spMk id="12" creationId="{00000000-0000-0000-0000-000000000000}"/>
            </ac:spMkLst>
          </pc:spChg>
          <pc:picChg chg="mod">
            <ac:chgData name="SP - Sonja Heynen-Pianka" userId="be06f938-f672-4a6f-92da-83ac3f6030d5" providerId="ADAL" clId="{3F730320-7DB8-4D73-8406-A5984B02EBBE}" dt="2024-10-18T09:03:18.577" v="4"/>
            <ac:picMkLst>
              <pc:docMk/>
              <pc:sldMasterMk cId="3944855220" sldId="2147483684"/>
              <pc:sldLayoutMk cId="2529212066" sldId="2147483672"/>
              <ac:picMk id="5" creationId="{00000000-0000-0000-0000-000000000000}"/>
            </ac:picMkLst>
          </pc:pic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2198946479" sldId="2147483673"/>
          </pc:sldLayoutMkLst>
          <pc:spChg chg="mod">
            <ac:chgData name="SP - Sonja Heynen-Pianka" userId="be06f938-f672-4a6f-92da-83ac3f6030d5" providerId="ADAL" clId="{3F730320-7DB8-4D73-8406-A5984B02EBBE}" dt="2024-10-18T09:03:18.577" v="4"/>
            <ac:spMkLst>
              <pc:docMk/>
              <pc:sldMasterMk cId="3944855220" sldId="2147483684"/>
              <pc:sldLayoutMk cId="2198946479" sldId="2147483673"/>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198946479" sldId="2147483673"/>
              <ac:spMk id="7"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1035619101" sldId="2147483674"/>
          </pc:sldLayoutMkLst>
          <pc:spChg chg="mod">
            <ac:chgData name="SP - Sonja Heynen-Pianka" userId="be06f938-f672-4a6f-92da-83ac3f6030d5" providerId="ADAL" clId="{3F730320-7DB8-4D73-8406-A5984B02EBBE}" dt="2024-10-18T09:03:18.577" v="4"/>
            <ac:spMkLst>
              <pc:docMk/>
              <pc:sldMasterMk cId="3944855220" sldId="2147483684"/>
              <pc:sldLayoutMk cId="1035619101" sldId="2147483674"/>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035619101" sldId="2147483674"/>
              <ac:spMk id="7"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035619101" sldId="2147483674"/>
              <ac:spMk id="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035619101" sldId="2147483674"/>
              <ac:spMk id="9"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035619101" sldId="2147483674"/>
              <ac:spMk id="1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035619101" sldId="2147483674"/>
              <ac:spMk id="16"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54573497" sldId="2147483675"/>
          </pc:sldLayoutMkLst>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6"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9"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1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1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16"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54573497" sldId="2147483675"/>
              <ac:spMk id="17"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3891683823" sldId="2147483676"/>
          </pc:sldLayoutMkLst>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9"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16"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1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20"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891683823" sldId="2147483676"/>
              <ac:spMk id="22"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2254573899" sldId="2147483677"/>
          </pc:sldLayoutMkLst>
          <pc:spChg chg="mod">
            <ac:chgData name="SP - Sonja Heynen-Pianka" userId="be06f938-f672-4a6f-92da-83ac3f6030d5" providerId="ADAL" clId="{3F730320-7DB8-4D73-8406-A5984B02EBBE}" dt="2024-10-18T09:03:18.577" v="4"/>
            <ac:spMkLst>
              <pc:docMk/>
              <pc:sldMasterMk cId="3944855220" sldId="2147483684"/>
              <pc:sldLayoutMk cId="2254573899" sldId="2147483677"/>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254573899" sldId="2147483677"/>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254573899" sldId="2147483677"/>
              <ac:spMk id="10"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254573899" sldId="2147483677"/>
              <ac:spMk id="11"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254573899" sldId="2147483677"/>
              <ac:spMk id="1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254573899" sldId="2147483677"/>
              <ac:spMk id="13"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2880454624" sldId="2147483680"/>
          </pc:sldLayoutMkLst>
          <pc:spChg chg="mod">
            <ac:chgData name="SP - Sonja Heynen-Pianka" userId="be06f938-f672-4a6f-92da-83ac3f6030d5" providerId="ADAL" clId="{3F730320-7DB8-4D73-8406-A5984B02EBBE}" dt="2024-10-18T09:03:18.577" v="4"/>
            <ac:spMkLst>
              <pc:docMk/>
              <pc:sldMasterMk cId="3944855220" sldId="2147483684"/>
              <pc:sldLayoutMk cId="2880454624" sldId="2147483680"/>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880454624" sldId="2147483680"/>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880454624" sldId="2147483680"/>
              <ac:spMk id="9"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880454624" sldId="2147483680"/>
              <ac:spMk id="11"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880454624" sldId="2147483680"/>
              <ac:spMk id="1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880454624" sldId="2147483680"/>
              <ac:spMk id="17"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1633200705" sldId="2147483681"/>
          </pc:sldLayoutMkLst>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6"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10"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1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14"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17"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1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20"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633200705" sldId="2147483681"/>
              <ac:spMk id="21"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782853205" sldId="2147483682"/>
          </pc:sldLayoutMkLst>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1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1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18"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82853205" sldId="2147483682"/>
              <ac:spMk id="20" creationId="{00000000-0000-0000-0000-000000000000}"/>
            </ac:spMkLst>
          </pc:spChg>
        </pc:sldLayoutChg>
        <pc:sldLayoutChg chg="modSp modTransition">
          <pc:chgData name="SP - Sonja Heynen-Pianka" userId="be06f938-f672-4a6f-92da-83ac3f6030d5" providerId="ADAL" clId="{3F730320-7DB8-4D73-8406-A5984B02EBBE}" dt="2024-10-18T09:03:18.577" v="4"/>
          <pc:sldLayoutMkLst>
            <pc:docMk/>
            <pc:sldMasterMk cId="3944855220" sldId="2147483684"/>
            <pc:sldLayoutMk cId="419837357" sldId="2147483683"/>
          </pc:sldLayoutMkLst>
          <pc:spChg chg="mod">
            <ac:chgData name="SP - Sonja Heynen-Pianka" userId="be06f938-f672-4a6f-92da-83ac3f6030d5" providerId="ADAL" clId="{3F730320-7DB8-4D73-8406-A5984B02EBBE}" dt="2024-10-18T09:03:18.577" v="4"/>
            <ac:spMkLst>
              <pc:docMk/>
              <pc:sldMasterMk cId="3944855220" sldId="2147483684"/>
              <pc:sldLayoutMk cId="419837357" sldId="2147483683"/>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19837357" sldId="2147483683"/>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19837357" sldId="2147483683"/>
              <ac:spMk id="9"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19837357" sldId="2147483683"/>
              <ac:spMk id="15"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298800744" sldId="2147483685"/>
          </pc:sldLayoutMkLst>
          <pc:spChg chg="mod">
            <ac:chgData name="SP - Sonja Heynen-Pianka" userId="be06f938-f672-4a6f-92da-83ac3f6030d5" providerId="ADAL" clId="{3F730320-7DB8-4D73-8406-A5984B02EBBE}" dt="2024-10-18T09:03:18.577" v="4"/>
            <ac:spMkLst>
              <pc:docMk/>
              <pc:sldMasterMk cId="3944855220" sldId="2147483684"/>
              <pc:sldLayoutMk cId="2298800744" sldId="2147483685"/>
              <ac:spMk id="2" creationId="{5B6072B8-2C89-4272-82C0-3891EF1FA5F0}"/>
            </ac:spMkLst>
          </pc:spChg>
          <pc:spChg chg="mod">
            <ac:chgData name="SP - Sonja Heynen-Pianka" userId="be06f938-f672-4a6f-92da-83ac3f6030d5" providerId="ADAL" clId="{3F730320-7DB8-4D73-8406-A5984B02EBBE}" dt="2024-10-18T09:03:18.577" v="4"/>
            <ac:spMkLst>
              <pc:docMk/>
              <pc:sldMasterMk cId="3944855220" sldId="2147483684"/>
              <pc:sldLayoutMk cId="2298800744" sldId="2147483685"/>
              <ac:spMk id="4" creationId="{AEF8D7F9-E87D-41FA-81A8-9628104F69A9}"/>
            </ac:spMkLst>
          </pc:spChg>
          <pc:grpChg chg="mod">
            <ac:chgData name="SP - Sonja Heynen-Pianka" userId="be06f938-f672-4a6f-92da-83ac3f6030d5" providerId="ADAL" clId="{3F730320-7DB8-4D73-8406-A5984B02EBBE}" dt="2024-10-18T09:03:18.577" v="4"/>
            <ac:grpSpMkLst>
              <pc:docMk/>
              <pc:sldMasterMk cId="3944855220" sldId="2147483684"/>
              <pc:sldLayoutMk cId="2298800744" sldId="2147483685"/>
              <ac:grpSpMk id="14" creationId="{FB173046-A4C0-A2F0-2BF2-DD9612604784}"/>
            </ac:grpSpMkLst>
          </pc:grpChg>
          <pc:picChg chg="mod">
            <ac:chgData name="SP - Sonja Heynen-Pianka" userId="be06f938-f672-4a6f-92da-83ac3f6030d5" providerId="ADAL" clId="{3F730320-7DB8-4D73-8406-A5984B02EBBE}" dt="2024-10-18T09:03:18.577" v="4"/>
            <ac:picMkLst>
              <pc:docMk/>
              <pc:sldMasterMk cId="3944855220" sldId="2147483684"/>
              <pc:sldLayoutMk cId="2298800744" sldId="2147483685"/>
              <ac:picMk id="15" creationId="{3BD87CAB-0DDF-25D7-7081-2BFB7F29B585}"/>
            </ac:picMkLst>
          </pc:picChg>
          <pc:picChg chg="mod">
            <ac:chgData name="SP - Sonja Heynen-Pianka" userId="be06f938-f672-4a6f-92da-83ac3f6030d5" providerId="ADAL" clId="{3F730320-7DB8-4D73-8406-A5984B02EBBE}" dt="2024-10-18T09:03:18.577" v="4"/>
            <ac:picMkLst>
              <pc:docMk/>
              <pc:sldMasterMk cId="3944855220" sldId="2147483684"/>
              <pc:sldLayoutMk cId="2298800744" sldId="2147483685"/>
              <ac:picMk id="16" creationId="{77FD8DDD-27A7-1AA5-111F-168D6DD78B40}"/>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14038765" sldId="2147483686"/>
          </pc:sldLayoutMkLst>
          <pc:spChg chg="mod">
            <ac:chgData name="SP - Sonja Heynen-Pianka" userId="be06f938-f672-4a6f-92da-83ac3f6030d5" providerId="ADAL" clId="{3F730320-7DB8-4D73-8406-A5984B02EBBE}" dt="2024-10-18T09:03:18.577" v="4"/>
            <ac:spMkLst>
              <pc:docMk/>
              <pc:sldMasterMk cId="3944855220" sldId="2147483684"/>
              <pc:sldLayoutMk cId="314038765" sldId="2147483686"/>
              <ac:spMk id="2" creationId="{5B6072B8-2C89-4272-82C0-3891EF1FA5F0}"/>
            </ac:spMkLst>
          </pc:spChg>
          <pc:spChg chg="mod">
            <ac:chgData name="SP - Sonja Heynen-Pianka" userId="be06f938-f672-4a6f-92da-83ac3f6030d5" providerId="ADAL" clId="{3F730320-7DB8-4D73-8406-A5984B02EBBE}" dt="2024-10-18T09:03:18.577" v="4"/>
            <ac:spMkLst>
              <pc:docMk/>
              <pc:sldMasterMk cId="3944855220" sldId="2147483684"/>
              <pc:sldLayoutMk cId="314038765" sldId="2147483686"/>
              <ac:spMk id="4" creationId="{AEF8D7F9-E87D-41FA-81A8-9628104F69A9}"/>
            </ac:spMkLst>
          </pc:spChg>
          <pc:grpChg chg="mod">
            <ac:chgData name="SP - Sonja Heynen-Pianka" userId="be06f938-f672-4a6f-92da-83ac3f6030d5" providerId="ADAL" clId="{3F730320-7DB8-4D73-8406-A5984B02EBBE}" dt="2024-10-18T09:03:18.577" v="4"/>
            <ac:grpSpMkLst>
              <pc:docMk/>
              <pc:sldMasterMk cId="3944855220" sldId="2147483684"/>
              <pc:sldLayoutMk cId="314038765" sldId="2147483686"/>
              <ac:grpSpMk id="10" creationId="{558EEDCF-2AA8-D387-F0C0-0E0B6676E9EF}"/>
            </ac:grpSpMkLst>
          </pc:grpChg>
          <pc:picChg chg="mod">
            <ac:chgData name="SP - Sonja Heynen-Pianka" userId="be06f938-f672-4a6f-92da-83ac3f6030d5" providerId="ADAL" clId="{3F730320-7DB8-4D73-8406-A5984B02EBBE}" dt="2024-10-18T09:03:18.577" v="4"/>
            <ac:picMkLst>
              <pc:docMk/>
              <pc:sldMasterMk cId="3944855220" sldId="2147483684"/>
              <pc:sldLayoutMk cId="314038765" sldId="2147483686"/>
              <ac:picMk id="6" creationId="{0863E7CD-4BA9-8599-A32E-A567A91C076D}"/>
            </ac:picMkLst>
          </pc:picChg>
          <pc:picChg chg="mod">
            <ac:chgData name="SP - Sonja Heynen-Pianka" userId="be06f938-f672-4a6f-92da-83ac3f6030d5" providerId="ADAL" clId="{3F730320-7DB8-4D73-8406-A5984B02EBBE}" dt="2024-10-18T09:03:18.577" v="4"/>
            <ac:picMkLst>
              <pc:docMk/>
              <pc:sldMasterMk cId="3944855220" sldId="2147483684"/>
              <pc:sldLayoutMk cId="314038765" sldId="2147483686"/>
              <ac:picMk id="9" creationId="{34E2D74F-4C33-FDB9-76CC-3A15202C3E31}"/>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560129109" sldId="2147483687"/>
          </pc:sldLayoutMkLst>
          <pc:spChg chg="mod">
            <ac:chgData name="SP - Sonja Heynen-Pianka" userId="be06f938-f672-4a6f-92da-83ac3f6030d5" providerId="ADAL" clId="{3F730320-7DB8-4D73-8406-A5984B02EBBE}" dt="2024-10-18T09:03:18.577" v="4"/>
            <ac:spMkLst>
              <pc:docMk/>
              <pc:sldMasterMk cId="3944855220" sldId="2147483684"/>
              <pc:sldLayoutMk cId="560129109" sldId="2147483687"/>
              <ac:spMk id="2" creationId="{5B6072B8-2C89-4272-82C0-3891EF1FA5F0}"/>
            </ac:spMkLst>
          </pc:spChg>
          <pc:spChg chg="mod">
            <ac:chgData name="SP - Sonja Heynen-Pianka" userId="be06f938-f672-4a6f-92da-83ac3f6030d5" providerId="ADAL" clId="{3F730320-7DB8-4D73-8406-A5984B02EBBE}" dt="2024-10-18T09:03:18.577" v="4"/>
            <ac:spMkLst>
              <pc:docMk/>
              <pc:sldMasterMk cId="3944855220" sldId="2147483684"/>
              <pc:sldLayoutMk cId="560129109" sldId="2147483687"/>
              <ac:spMk id="5" creationId="{6B134BF7-ABF4-4412-A4F4-0A3424E5488B}"/>
            </ac:spMkLst>
          </pc:spChg>
          <pc:spChg chg="mod">
            <ac:chgData name="SP - Sonja Heynen-Pianka" userId="be06f938-f672-4a6f-92da-83ac3f6030d5" providerId="ADAL" clId="{3F730320-7DB8-4D73-8406-A5984B02EBBE}" dt="2024-10-18T09:03:18.577" v="4"/>
            <ac:spMkLst>
              <pc:docMk/>
              <pc:sldMasterMk cId="3944855220" sldId="2147483684"/>
              <pc:sldLayoutMk cId="560129109" sldId="2147483687"/>
              <ac:spMk id="21" creationId="{F99BC253-5520-A73E-F7D2-715FD7BED55D}"/>
            </ac:spMkLst>
          </pc:spChg>
          <pc:picChg chg="mod">
            <ac:chgData name="SP - Sonja Heynen-Pianka" userId="be06f938-f672-4a6f-92da-83ac3f6030d5" providerId="ADAL" clId="{3F730320-7DB8-4D73-8406-A5984B02EBBE}" dt="2024-10-18T09:03:18.577" v="4"/>
            <ac:picMkLst>
              <pc:docMk/>
              <pc:sldMasterMk cId="3944855220" sldId="2147483684"/>
              <pc:sldLayoutMk cId="560129109" sldId="2147483687"/>
              <ac:picMk id="4" creationId="{DEF780B1-CEAC-4C4B-45AC-6E5CE1AC9CFE}"/>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969558983" sldId="2147483688"/>
          </pc:sldLayoutMkLst>
          <pc:spChg chg="mod">
            <ac:chgData name="SP - Sonja Heynen-Pianka" userId="be06f938-f672-4a6f-92da-83ac3f6030d5" providerId="ADAL" clId="{3F730320-7DB8-4D73-8406-A5984B02EBBE}" dt="2024-10-18T09:03:18.577" v="4"/>
            <ac:spMkLst>
              <pc:docMk/>
              <pc:sldMasterMk cId="3944855220" sldId="2147483684"/>
              <pc:sldLayoutMk cId="969558983" sldId="2147483688"/>
              <ac:spMk id="2" creationId="{71024CB5-5B39-473A-9328-DC965D29B519}"/>
            </ac:spMkLst>
          </pc:spChg>
          <pc:spChg chg="mod">
            <ac:chgData name="SP - Sonja Heynen-Pianka" userId="be06f938-f672-4a6f-92da-83ac3f6030d5" providerId="ADAL" clId="{3F730320-7DB8-4D73-8406-A5984B02EBBE}" dt="2024-10-18T09:03:18.577" v="4"/>
            <ac:spMkLst>
              <pc:docMk/>
              <pc:sldMasterMk cId="3944855220" sldId="2147483684"/>
              <pc:sldLayoutMk cId="969558983" sldId="2147483688"/>
              <ac:spMk id="5" creationId="{1AF021C7-E21F-F960-FBE2-7F689AE25FB2}"/>
            </ac:spMkLst>
          </pc:spChg>
          <pc:spChg chg="mod">
            <ac:chgData name="SP - Sonja Heynen-Pianka" userId="be06f938-f672-4a6f-92da-83ac3f6030d5" providerId="ADAL" clId="{3F730320-7DB8-4D73-8406-A5984B02EBBE}" dt="2024-10-18T09:03:18.577" v="4"/>
            <ac:spMkLst>
              <pc:docMk/>
              <pc:sldMasterMk cId="3944855220" sldId="2147483684"/>
              <pc:sldLayoutMk cId="969558983" sldId="2147483688"/>
              <ac:spMk id="7"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69558983" sldId="2147483688"/>
              <ac:spMk id="8"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145810456" sldId="2147483689"/>
          </pc:sldLayoutMkLst>
          <pc:spChg chg="mod">
            <ac:chgData name="SP - Sonja Heynen-Pianka" userId="be06f938-f672-4a6f-92da-83ac3f6030d5" providerId="ADAL" clId="{3F730320-7DB8-4D73-8406-A5984B02EBBE}" dt="2024-10-18T09:03:18.577" v="4"/>
            <ac:spMkLst>
              <pc:docMk/>
              <pc:sldMasterMk cId="3944855220" sldId="2147483684"/>
              <pc:sldLayoutMk cId="3145810456" sldId="2147483689"/>
              <ac:spMk id="4" creationId="{BEE64445-44EB-617C-26A4-15E365FEBCCB}"/>
            </ac:spMkLst>
          </pc:spChg>
          <pc:spChg chg="mod">
            <ac:chgData name="SP - Sonja Heynen-Pianka" userId="be06f938-f672-4a6f-92da-83ac3f6030d5" providerId="ADAL" clId="{3F730320-7DB8-4D73-8406-A5984B02EBBE}" dt="2024-10-18T09:03:18.577" v="4"/>
            <ac:spMkLst>
              <pc:docMk/>
              <pc:sldMasterMk cId="3944855220" sldId="2147483684"/>
              <pc:sldLayoutMk cId="3145810456" sldId="2147483689"/>
              <ac:spMk id="7" creationId="{BF253DA0-C99F-CCE2-8376-62B4FD1BC01C}"/>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083392139" sldId="2147483690"/>
          </pc:sldLayoutMkLst>
          <pc:spChg chg="mod">
            <ac:chgData name="SP - Sonja Heynen-Pianka" userId="be06f938-f672-4a6f-92da-83ac3f6030d5" providerId="ADAL" clId="{3F730320-7DB8-4D73-8406-A5984B02EBBE}" dt="2024-10-18T09:03:18.577" v="4"/>
            <ac:spMkLst>
              <pc:docMk/>
              <pc:sldMasterMk cId="3944855220" sldId="2147483684"/>
              <pc:sldLayoutMk cId="3083392139" sldId="2147483690"/>
              <ac:spMk id="4" creationId="{BEE64445-44EB-617C-26A4-15E365FEBCCB}"/>
            </ac:spMkLst>
          </pc:spChg>
          <pc:spChg chg="mod">
            <ac:chgData name="SP - Sonja Heynen-Pianka" userId="be06f938-f672-4a6f-92da-83ac3f6030d5" providerId="ADAL" clId="{3F730320-7DB8-4D73-8406-A5984B02EBBE}" dt="2024-10-18T09:03:18.577" v="4"/>
            <ac:spMkLst>
              <pc:docMk/>
              <pc:sldMasterMk cId="3944855220" sldId="2147483684"/>
              <pc:sldLayoutMk cId="3083392139" sldId="2147483690"/>
              <ac:spMk id="5" creationId="{A454B215-1514-AD0D-7171-82392DCEE9F4}"/>
            </ac:spMkLst>
          </pc:spChg>
          <pc:spChg chg="mod">
            <ac:chgData name="SP - Sonja Heynen-Pianka" userId="be06f938-f672-4a6f-92da-83ac3f6030d5" providerId="ADAL" clId="{3F730320-7DB8-4D73-8406-A5984B02EBBE}" dt="2024-10-18T09:03:18.577" v="4"/>
            <ac:spMkLst>
              <pc:docMk/>
              <pc:sldMasterMk cId="3944855220" sldId="2147483684"/>
              <pc:sldLayoutMk cId="3083392139" sldId="2147483690"/>
              <ac:spMk id="7" creationId="{BF253DA0-C99F-CCE2-8376-62B4FD1BC01C}"/>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776313655" sldId="2147483691"/>
          </pc:sldLayoutMkLst>
          <pc:spChg chg="mod">
            <ac:chgData name="SP - Sonja Heynen-Pianka" userId="be06f938-f672-4a6f-92da-83ac3f6030d5" providerId="ADAL" clId="{3F730320-7DB8-4D73-8406-A5984B02EBBE}" dt="2024-10-18T09:03:18.577" v="4"/>
            <ac:spMkLst>
              <pc:docMk/>
              <pc:sldMasterMk cId="3944855220" sldId="2147483684"/>
              <pc:sldLayoutMk cId="2776313655" sldId="2147483691"/>
              <ac:spMk id="5" creationId="{59299A02-BB7A-D23A-5899-109A6081A58A}"/>
            </ac:spMkLst>
          </pc:spChg>
          <pc:spChg chg="mod">
            <ac:chgData name="SP - Sonja Heynen-Pianka" userId="be06f938-f672-4a6f-92da-83ac3f6030d5" providerId="ADAL" clId="{3F730320-7DB8-4D73-8406-A5984B02EBBE}" dt="2024-10-18T09:03:18.577" v="4"/>
            <ac:spMkLst>
              <pc:docMk/>
              <pc:sldMasterMk cId="3944855220" sldId="2147483684"/>
              <pc:sldLayoutMk cId="2776313655" sldId="2147483691"/>
              <ac:spMk id="7" creationId="{BF253DA0-C99F-CCE2-8376-62B4FD1BC01C}"/>
            </ac:spMkLst>
          </pc:spChg>
          <pc:spChg chg="mod">
            <ac:chgData name="SP - Sonja Heynen-Pianka" userId="be06f938-f672-4a6f-92da-83ac3f6030d5" providerId="ADAL" clId="{3F730320-7DB8-4D73-8406-A5984B02EBBE}" dt="2024-10-18T09:03:18.577" v="4"/>
            <ac:spMkLst>
              <pc:docMk/>
              <pc:sldMasterMk cId="3944855220" sldId="2147483684"/>
              <pc:sldLayoutMk cId="2776313655" sldId="2147483691"/>
              <ac:spMk id="10" creationId="{9011ADA1-4856-7E23-9645-19D873181D9D}"/>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1218159472" sldId="2147483692"/>
          </pc:sldLayoutMkLst>
          <pc:spChg chg="mod">
            <ac:chgData name="SP - Sonja Heynen-Pianka" userId="be06f938-f672-4a6f-92da-83ac3f6030d5" providerId="ADAL" clId="{3F730320-7DB8-4D73-8406-A5984B02EBBE}" dt="2024-10-18T09:03:18.577" v="4"/>
            <ac:spMkLst>
              <pc:docMk/>
              <pc:sldMasterMk cId="3944855220" sldId="2147483684"/>
              <pc:sldLayoutMk cId="1218159472" sldId="2147483692"/>
              <ac:spMk id="2" creationId="{A634B820-6669-DBBB-494F-24B4FA1D498A}"/>
            </ac:spMkLst>
          </pc:spChg>
          <pc:spChg chg="mod">
            <ac:chgData name="SP - Sonja Heynen-Pianka" userId="be06f938-f672-4a6f-92da-83ac3f6030d5" providerId="ADAL" clId="{3F730320-7DB8-4D73-8406-A5984B02EBBE}" dt="2024-10-18T09:03:18.577" v="4"/>
            <ac:spMkLst>
              <pc:docMk/>
              <pc:sldMasterMk cId="3944855220" sldId="2147483684"/>
              <pc:sldLayoutMk cId="1218159472" sldId="2147483692"/>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218159472" sldId="2147483692"/>
              <ac:spMk id="6" creationId="{1141E905-8F9A-BAAC-3E16-D4726366CFE8}"/>
            </ac:spMkLst>
          </pc:spChg>
          <pc:spChg chg="mod">
            <ac:chgData name="SP - Sonja Heynen-Pianka" userId="be06f938-f672-4a6f-92da-83ac3f6030d5" providerId="ADAL" clId="{3F730320-7DB8-4D73-8406-A5984B02EBBE}" dt="2024-10-18T09:03:18.577" v="4"/>
            <ac:spMkLst>
              <pc:docMk/>
              <pc:sldMasterMk cId="3944855220" sldId="2147483684"/>
              <pc:sldLayoutMk cId="1218159472" sldId="2147483692"/>
              <ac:spMk id="7"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969338539" sldId="2147483693"/>
          </pc:sldLayoutMkLst>
          <pc:spChg chg="mod">
            <ac:chgData name="SP - Sonja Heynen-Pianka" userId="be06f938-f672-4a6f-92da-83ac3f6030d5" providerId="ADAL" clId="{3F730320-7DB8-4D73-8406-A5984B02EBBE}" dt="2024-10-18T09:03:18.577" v="4"/>
            <ac:spMkLst>
              <pc:docMk/>
              <pc:sldMasterMk cId="3944855220" sldId="2147483684"/>
              <pc:sldLayoutMk cId="969338539" sldId="2147483693"/>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69338539" sldId="2147483693"/>
              <ac:spMk id="5"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69338539" sldId="2147483693"/>
              <ac:spMk id="6" creationId="{16772743-4F2C-5CEF-F250-4B835CF19BCB}"/>
            </ac:spMkLst>
          </pc:spChg>
          <pc:spChg chg="mod">
            <ac:chgData name="SP - Sonja Heynen-Pianka" userId="be06f938-f672-4a6f-92da-83ac3f6030d5" providerId="ADAL" clId="{3F730320-7DB8-4D73-8406-A5984B02EBBE}" dt="2024-10-18T09:03:18.577" v="4"/>
            <ac:spMkLst>
              <pc:docMk/>
              <pc:sldMasterMk cId="3944855220" sldId="2147483684"/>
              <pc:sldLayoutMk cId="969338539" sldId="2147483693"/>
              <ac:spMk id="7"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69338539" sldId="2147483693"/>
              <ac:spMk id="8" creationId="{CE5084D5-8143-2CA6-3DB8-167DAABC7EC1}"/>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534152345" sldId="2147483694"/>
          </pc:sldLayoutMkLst>
          <pc:spChg chg="mod">
            <ac:chgData name="SP - Sonja Heynen-Pianka" userId="be06f938-f672-4a6f-92da-83ac3f6030d5" providerId="ADAL" clId="{3F730320-7DB8-4D73-8406-A5984B02EBBE}" dt="2024-10-18T09:03:18.577" v="4"/>
            <ac:spMkLst>
              <pc:docMk/>
              <pc:sldMasterMk cId="3944855220" sldId="2147483684"/>
              <pc:sldLayoutMk cId="3534152345" sldId="2147483694"/>
              <ac:spMk id="2" creationId="{71024CB5-5B39-473A-9328-DC965D29B519}"/>
            </ac:spMkLst>
          </pc:spChg>
          <pc:spChg chg="mod">
            <ac:chgData name="SP - Sonja Heynen-Pianka" userId="be06f938-f672-4a6f-92da-83ac3f6030d5" providerId="ADAL" clId="{3F730320-7DB8-4D73-8406-A5984B02EBBE}" dt="2024-10-18T09:03:18.577" v="4"/>
            <ac:spMkLst>
              <pc:docMk/>
              <pc:sldMasterMk cId="3944855220" sldId="2147483684"/>
              <pc:sldLayoutMk cId="3534152345" sldId="2147483694"/>
              <ac:spMk id="3" creationId="{20581965-BA22-C04B-4A09-7F3D92DEB3ED}"/>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319657123" sldId="2147483696"/>
          </pc:sldLayoutMkLst>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2" creationId="{4084A3A7-0B05-D557-3924-DDAA5D49A19C}"/>
            </ac:spMkLst>
          </pc:spChg>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5" creationId="{078F299C-07BB-CD27-BEE4-E1AE50C9AB3C}"/>
            </ac:spMkLst>
          </pc:spChg>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6" creationId="{A630B9B4-3EF7-7197-F043-0B53DDEFCF4F}"/>
            </ac:spMkLst>
          </pc:spChg>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8" creationId="{636A129C-6CCA-49D1-A43E-2B186D3EAB58}"/>
            </ac:spMkLst>
          </pc:spChg>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11" creationId="{C6A42084-E00D-AE32-E971-71BA2F3BD311}"/>
            </ac:spMkLst>
          </pc:spChg>
          <pc:spChg chg="mod">
            <ac:chgData name="SP - Sonja Heynen-Pianka" userId="be06f938-f672-4a6f-92da-83ac3f6030d5" providerId="ADAL" clId="{3F730320-7DB8-4D73-8406-A5984B02EBBE}" dt="2024-10-18T09:03:18.577" v="4"/>
            <ac:spMkLst>
              <pc:docMk/>
              <pc:sldMasterMk cId="3944855220" sldId="2147483684"/>
              <pc:sldLayoutMk cId="2319657123" sldId="2147483696"/>
              <ac:spMk id="12" creationId="{3D87E8AA-A28B-4177-7715-54C776DF3A7A}"/>
            </ac:spMkLst>
          </pc:spChg>
          <pc:picChg chg="mod">
            <ac:chgData name="SP - Sonja Heynen-Pianka" userId="be06f938-f672-4a6f-92da-83ac3f6030d5" providerId="ADAL" clId="{3F730320-7DB8-4D73-8406-A5984B02EBBE}" dt="2024-10-18T09:03:18.577" v="4"/>
            <ac:picMkLst>
              <pc:docMk/>
              <pc:sldMasterMk cId="3944855220" sldId="2147483684"/>
              <pc:sldLayoutMk cId="2319657123" sldId="2147483696"/>
              <ac:picMk id="10" creationId="{357090B7-3CC9-A31C-EDF2-8848140BB4B5}"/>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657408807" sldId="2147483697"/>
          </pc:sldLayoutMkLst>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2" creationId="{521E93EA-7263-6027-6F99-621C9757B7A2}"/>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5" creationId="{3FBE3152-E0FB-692D-3D97-677427BBE99E}"/>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6" creationId="{A42241A1-58CE-B3C1-C62F-370957C70E4D}"/>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8" creationId="{636A129C-6CCA-49D1-A43E-2B186D3EAB58}"/>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11" creationId="{F80104EE-20CD-22F1-C3A5-6EFABE3D69DB}"/>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12" creationId="{92B33BCC-1E92-4D34-9321-FA90CF8DB11E}"/>
            </ac:spMkLst>
          </pc:spChg>
          <pc:spChg chg="mod">
            <ac:chgData name="SP - Sonja Heynen-Pianka" userId="be06f938-f672-4a6f-92da-83ac3f6030d5" providerId="ADAL" clId="{3F730320-7DB8-4D73-8406-A5984B02EBBE}" dt="2024-10-18T09:03:18.577" v="4"/>
            <ac:spMkLst>
              <pc:docMk/>
              <pc:sldMasterMk cId="3944855220" sldId="2147483684"/>
              <pc:sldLayoutMk cId="3657408807" sldId="2147483697"/>
              <ac:spMk id="14" creationId="{2001CFAA-892C-F5BC-7935-6B9528E6100B}"/>
            </ac:spMkLst>
          </pc:spChg>
          <pc:picChg chg="mod">
            <ac:chgData name="SP - Sonja Heynen-Pianka" userId="be06f938-f672-4a6f-92da-83ac3f6030d5" providerId="ADAL" clId="{3F730320-7DB8-4D73-8406-A5984B02EBBE}" dt="2024-10-18T09:03:18.577" v="4"/>
            <ac:picMkLst>
              <pc:docMk/>
              <pc:sldMasterMk cId="3944855220" sldId="2147483684"/>
              <pc:sldLayoutMk cId="3657408807" sldId="2147483697"/>
              <ac:picMk id="10" creationId="{A1928C7B-DD07-C4C1-ADDB-E892788ADA96}"/>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783899953" sldId="2147483698"/>
          </pc:sldLayoutMkLst>
          <pc:spChg chg="mod">
            <ac:chgData name="SP - Sonja Heynen-Pianka" userId="be06f938-f672-4a6f-92da-83ac3f6030d5" providerId="ADAL" clId="{3F730320-7DB8-4D73-8406-A5984B02EBBE}" dt="2024-10-18T09:03:18.577" v="4"/>
            <ac:spMkLst>
              <pc:docMk/>
              <pc:sldMasterMk cId="3944855220" sldId="2147483684"/>
              <pc:sldLayoutMk cId="3783899953" sldId="2147483698"/>
              <ac:spMk id="2" creationId="{DB15314C-DA28-645D-E910-37D6CEE57CDA}"/>
            </ac:spMkLst>
          </pc:spChg>
          <pc:spChg chg="mod">
            <ac:chgData name="SP - Sonja Heynen-Pianka" userId="be06f938-f672-4a6f-92da-83ac3f6030d5" providerId="ADAL" clId="{3F730320-7DB8-4D73-8406-A5984B02EBBE}" dt="2024-10-18T09:03:18.577" v="4"/>
            <ac:spMkLst>
              <pc:docMk/>
              <pc:sldMasterMk cId="3944855220" sldId="2147483684"/>
              <pc:sldLayoutMk cId="3783899953" sldId="2147483698"/>
              <ac:spMk id="3" creationId="{8DCCD4C4-7231-F9E6-1E5D-1D202F91AC77}"/>
            </ac:spMkLst>
          </pc:spChg>
          <pc:spChg chg="mod">
            <ac:chgData name="SP - Sonja Heynen-Pianka" userId="be06f938-f672-4a6f-92da-83ac3f6030d5" providerId="ADAL" clId="{3F730320-7DB8-4D73-8406-A5984B02EBBE}" dt="2024-10-18T09:03:18.577" v="4"/>
            <ac:spMkLst>
              <pc:docMk/>
              <pc:sldMasterMk cId="3944855220" sldId="2147483684"/>
              <pc:sldLayoutMk cId="3783899953" sldId="2147483698"/>
              <ac:spMk id="4" creationId="{2BE1D6DC-B8B3-8251-D268-A6521864EFE9}"/>
            </ac:spMkLst>
          </pc:spChg>
          <pc:spChg chg="mod">
            <ac:chgData name="SP - Sonja Heynen-Pianka" userId="be06f938-f672-4a6f-92da-83ac3f6030d5" providerId="ADAL" clId="{3F730320-7DB8-4D73-8406-A5984B02EBBE}" dt="2024-10-18T09:03:18.577" v="4"/>
            <ac:spMkLst>
              <pc:docMk/>
              <pc:sldMasterMk cId="3944855220" sldId="2147483684"/>
              <pc:sldLayoutMk cId="3783899953" sldId="2147483698"/>
              <ac:spMk id="6" creationId="{027FA583-D737-6F2E-F9A1-B9FD3C8226D0}"/>
            </ac:spMkLst>
          </pc:spChg>
          <pc:spChg chg="mod">
            <ac:chgData name="SP - Sonja Heynen-Pianka" userId="be06f938-f672-4a6f-92da-83ac3f6030d5" providerId="ADAL" clId="{3F730320-7DB8-4D73-8406-A5984B02EBBE}" dt="2024-10-18T09:03:18.577" v="4"/>
            <ac:spMkLst>
              <pc:docMk/>
              <pc:sldMasterMk cId="3944855220" sldId="2147483684"/>
              <pc:sldLayoutMk cId="3783899953" sldId="2147483698"/>
              <ac:spMk id="7" creationId="{006FA47B-1791-5EF0-6C28-BE2CFA41B343}"/>
            </ac:spMkLst>
          </pc:spChg>
          <pc:spChg chg="mod">
            <ac:chgData name="SP - Sonja Heynen-Pianka" userId="be06f938-f672-4a6f-92da-83ac3f6030d5" providerId="ADAL" clId="{3F730320-7DB8-4D73-8406-A5984B02EBBE}" dt="2024-10-18T09:03:18.577" v="4"/>
            <ac:spMkLst>
              <pc:docMk/>
              <pc:sldMasterMk cId="3944855220" sldId="2147483684"/>
              <pc:sldLayoutMk cId="3783899953" sldId="2147483698"/>
              <ac:spMk id="8" creationId="{636A129C-6CCA-49D1-A43E-2B186D3EAB58}"/>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450381615" sldId="2147483699"/>
          </pc:sldLayoutMkLst>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2" creationId="{8A77AC48-DD29-B246-14D3-F3F8D47E477E}"/>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5" creationId="{0859FA6F-07FD-7236-E46C-D2619535B5E1}"/>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6" creationId="{C00D4436-D0DE-87DC-AC4C-526B201566EB}"/>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7" creationId="{D217D266-8661-A106-96AC-2A2048406CF7}"/>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8" creationId="{636A129C-6CCA-49D1-A43E-2B186D3EAB58}"/>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0" creationId="{5B67782C-3D66-4D72-4E16-E887C402CD0F}"/>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1" creationId="{58C76991-19F1-A1D6-4617-FDA9C2230412}"/>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2" creationId="{92B33BCC-1E92-4D34-9321-FA90CF8DB11E}"/>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3" creationId="{ADA2CB67-EF9E-2669-310C-F98E9316E9D1}"/>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5" creationId="{099C31DC-465B-1ACE-2142-9DA949EBCB04}"/>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7" creationId="{61DF95C7-73C8-0324-13A9-043B20134269}"/>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8" creationId="{AD63DB6A-D247-9AB1-BFB3-048AA85E61C8}"/>
            </ac:spMkLst>
          </pc:spChg>
          <pc:spChg chg="mod">
            <ac:chgData name="SP - Sonja Heynen-Pianka" userId="be06f938-f672-4a6f-92da-83ac3f6030d5" providerId="ADAL" clId="{3F730320-7DB8-4D73-8406-A5984B02EBBE}" dt="2024-10-18T09:03:18.577" v="4"/>
            <ac:spMkLst>
              <pc:docMk/>
              <pc:sldMasterMk cId="3944855220" sldId="2147483684"/>
              <pc:sldLayoutMk cId="2450381615" sldId="2147483699"/>
              <ac:spMk id="19" creationId="{58AB6580-B2DF-723A-D67C-1C23A240C166}"/>
            </ac:spMkLst>
          </pc:spChg>
          <pc:picChg chg="mod">
            <ac:chgData name="SP - Sonja Heynen-Pianka" userId="be06f938-f672-4a6f-92da-83ac3f6030d5" providerId="ADAL" clId="{3F730320-7DB8-4D73-8406-A5984B02EBBE}" dt="2024-10-18T09:03:18.577" v="4"/>
            <ac:picMkLst>
              <pc:docMk/>
              <pc:sldMasterMk cId="3944855220" sldId="2147483684"/>
              <pc:sldLayoutMk cId="2450381615" sldId="2147483699"/>
              <ac:picMk id="14" creationId="{C09407EA-4CC1-1C7D-381E-CFD2BBE07F5D}"/>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900994016" sldId="2147483700"/>
          </pc:sldLayoutMkLst>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2" creationId="{B0A0A137-A4E3-8FFA-C03B-F75961127BCD}"/>
            </ac:spMkLst>
          </pc:spChg>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5" creationId="{4E059E21-A6F6-AB1A-8F84-31FBC60BC62E}"/>
            </ac:spMkLst>
          </pc:spChg>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8" creationId="{636A129C-6CCA-49D1-A43E-2B186D3EAB58}"/>
            </ac:spMkLst>
          </pc:spChg>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9" creationId="{EF1D150D-801F-B08A-C2D1-8CFA58AE63BA}"/>
            </ac:spMkLst>
          </pc:spChg>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12" creationId="{A9866CBA-5F21-ECC2-674C-D20FF6BDF059}"/>
            </ac:spMkLst>
          </pc:spChg>
          <pc:spChg chg="mod">
            <ac:chgData name="SP - Sonja Heynen-Pianka" userId="be06f938-f672-4a6f-92da-83ac3f6030d5" providerId="ADAL" clId="{3F730320-7DB8-4D73-8406-A5984B02EBBE}" dt="2024-10-18T09:03:18.577" v="4"/>
            <ac:spMkLst>
              <pc:docMk/>
              <pc:sldMasterMk cId="3944855220" sldId="2147483684"/>
              <pc:sldLayoutMk cId="2900994016" sldId="2147483700"/>
              <ac:spMk id="13" creationId="{0E820EBC-2572-3973-7CE2-B6C435E59187}"/>
            </ac:spMkLst>
          </pc:spChg>
          <pc:picChg chg="mod">
            <ac:chgData name="SP - Sonja Heynen-Pianka" userId="be06f938-f672-4a6f-92da-83ac3f6030d5" providerId="ADAL" clId="{3F730320-7DB8-4D73-8406-A5984B02EBBE}" dt="2024-10-18T09:03:18.577" v="4"/>
            <ac:picMkLst>
              <pc:docMk/>
              <pc:sldMasterMk cId="3944855220" sldId="2147483684"/>
              <pc:sldLayoutMk cId="2900994016" sldId="2147483700"/>
              <ac:picMk id="10" creationId="{4AC85BEF-493D-BD1A-2FAE-7AE7F3347E43}"/>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036417740" sldId="2147483701"/>
          </pc:sldLayoutMkLst>
          <pc:spChg chg="mod">
            <ac:chgData name="SP - Sonja Heynen-Pianka" userId="be06f938-f672-4a6f-92da-83ac3f6030d5" providerId="ADAL" clId="{3F730320-7DB8-4D73-8406-A5984B02EBBE}" dt="2024-10-18T09:03:18.577" v="4"/>
            <ac:spMkLst>
              <pc:docMk/>
              <pc:sldMasterMk cId="3944855220" sldId="2147483684"/>
              <pc:sldLayoutMk cId="2036417740" sldId="2147483701"/>
              <ac:spMk id="2" creationId="{71024CB5-5B39-473A-9328-DC965D29B519}"/>
            </ac:spMkLst>
          </pc:spChg>
          <pc:spChg chg="mod">
            <ac:chgData name="SP - Sonja Heynen-Pianka" userId="be06f938-f672-4a6f-92da-83ac3f6030d5" providerId="ADAL" clId="{3F730320-7DB8-4D73-8406-A5984B02EBBE}" dt="2024-10-18T09:03:18.577" v="4"/>
            <ac:spMkLst>
              <pc:docMk/>
              <pc:sldMasterMk cId="3944855220" sldId="2147483684"/>
              <pc:sldLayoutMk cId="2036417740" sldId="2147483701"/>
              <ac:spMk id="4"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036417740" sldId="2147483701"/>
              <ac:spMk id="5" creationId="{B9ECE4A9-ACCE-758D-7041-48726B68BCC6}"/>
            </ac:spMkLst>
          </pc:spChg>
          <pc:spChg chg="mod">
            <ac:chgData name="SP - Sonja Heynen-Pianka" userId="be06f938-f672-4a6f-92da-83ac3f6030d5" providerId="ADAL" clId="{3F730320-7DB8-4D73-8406-A5984B02EBBE}" dt="2024-10-18T09:03:18.577" v="4"/>
            <ac:spMkLst>
              <pc:docMk/>
              <pc:sldMasterMk cId="3944855220" sldId="2147483684"/>
              <pc:sldLayoutMk cId="2036417740" sldId="2147483701"/>
              <ac:spMk id="6" creationId="{3FA4A2BE-CFF2-F408-0514-C2BF8F0DCD7F}"/>
            </ac:spMkLst>
          </pc:spChg>
          <pc:spChg chg="mod">
            <ac:chgData name="SP - Sonja Heynen-Pianka" userId="be06f938-f672-4a6f-92da-83ac3f6030d5" providerId="ADAL" clId="{3F730320-7DB8-4D73-8406-A5984B02EBBE}" dt="2024-10-18T09:03:18.577" v="4"/>
            <ac:spMkLst>
              <pc:docMk/>
              <pc:sldMasterMk cId="3944855220" sldId="2147483684"/>
              <pc:sldLayoutMk cId="2036417740" sldId="2147483701"/>
              <ac:spMk id="7" creationId="{11E2735A-4CDE-931D-E0DD-5B8318D5F820}"/>
            </ac:spMkLst>
          </pc:spChg>
          <pc:picChg chg="mod">
            <ac:chgData name="SP - Sonja Heynen-Pianka" userId="be06f938-f672-4a6f-92da-83ac3f6030d5" providerId="ADAL" clId="{3F730320-7DB8-4D73-8406-A5984B02EBBE}" dt="2024-10-18T09:03:18.577" v="4"/>
            <ac:picMkLst>
              <pc:docMk/>
              <pc:sldMasterMk cId="3944855220" sldId="2147483684"/>
              <pc:sldLayoutMk cId="2036417740" sldId="2147483701"/>
              <ac:picMk id="3" creationId="{B3291CBB-9583-004F-B85E-215C2ABF767D}"/>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1274274458" sldId="2147483702"/>
          </pc:sldLayoutMkLst>
          <pc:spChg chg="mod">
            <ac:chgData name="SP - Sonja Heynen-Pianka" userId="be06f938-f672-4a6f-92da-83ac3f6030d5" providerId="ADAL" clId="{3F730320-7DB8-4D73-8406-A5984B02EBBE}" dt="2024-10-18T09:03:18.577" v="4"/>
            <ac:spMkLst>
              <pc:docMk/>
              <pc:sldMasterMk cId="3944855220" sldId="2147483684"/>
              <pc:sldLayoutMk cId="1274274458" sldId="2147483702"/>
              <ac:spMk id="2" creationId="{71024CB5-5B39-473A-9328-DC965D29B519}"/>
            </ac:spMkLst>
          </pc:spChg>
          <pc:spChg chg="mod">
            <ac:chgData name="SP - Sonja Heynen-Pianka" userId="be06f938-f672-4a6f-92da-83ac3f6030d5" providerId="ADAL" clId="{3F730320-7DB8-4D73-8406-A5984B02EBBE}" dt="2024-10-18T09:03:18.577" v="4"/>
            <ac:spMkLst>
              <pc:docMk/>
              <pc:sldMasterMk cId="3944855220" sldId="2147483684"/>
              <pc:sldLayoutMk cId="1274274458" sldId="2147483702"/>
              <ac:spMk id="4"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274274458" sldId="2147483702"/>
              <ac:spMk id="5" creationId="{B9ECE4A9-ACCE-758D-7041-48726B68BCC6}"/>
            </ac:spMkLst>
          </pc:spChg>
          <pc:spChg chg="mod">
            <ac:chgData name="SP - Sonja Heynen-Pianka" userId="be06f938-f672-4a6f-92da-83ac3f6030d5" providerId="ADAL" clId="{3F730320-7DB8-4D73-8406-A5984B02EBBE}" dt="2024-10-18T09:03:18.577" v="4"/>
            <ac:spMkLst>
              <pc:docMk/>
              <pc:sldMasterMk cId="3944855220" sldId="2147483684"/>
              <pc:sldLayoutMk cId="1274274458" sldId="2147483702"/>
              <ac:spMk id="6" creationId="{71F93AA3-05D3-B284-0761-7775D64234E6}"/>
            </ac:spMkLst>
          </pc:spChg>
          <pc:spChg chg="mod">
            <ac:chgData name="SP - Sonja Heynen-Pianka" userId="be06f938-f672-4a6f-92da-83ac3f6030d5" providerId="ADAL" clId="{3F730320-7DB8-4D73-8406-A5984B02EBBE}" dt="2024-10-18T09:03:18.577" v="4"/>
            <ac:spMkLst>
              <pc:docMk/>
              <pc:sldMasterMk cId="3944855220" sldId="2147483684"/>
              <pc:sldLayoutMk cId="1274274458" sldId="2147483702"/>
              <ac:spMk id="7" creationId="{0021134D-036A-A23C-BDCE-38CD86C8AEFC}"/>
            </ac:spMkLst>
          </pc:spChg>
          <pc:spChg chg="mod">
            <ac:chgData name="SP - Sonja Heynen-Pianka" userId="be06f938-f672-4a6f-92da-83ac3f6030d5" providerId="ADAL" clId="{3F730320-7DB8-4D73-8406-A5984B02EBBE}" dt="2024-10-18T09:03:18.577" v="4"/>
            <ac:spMkLst>
              <pc:docMk/>
              <pc:sldMasterMk cId="3944855220" sldId="2147483684"/>
              <pc:sldLayoutMk cId="1274274458" sldId="2147483702"/>
              <ac:spMk id="8" creationId="{44DE14EB-C7E4-1410-E634-F4F7F7B84971}"/>
            </ac:spMkLst>
          </pc:spChg>
          <pc:picChg chg="mod">
            <ac:chgData name="SP - Sonja Heynen-Pianka" userId="be06f938-f672-4a6f-92da-83ac3f6030d5" providerId="ADAL" clId="{3F730320-7DB8-4D73-8406-A5984B02EBBE}" dt="2024-10-18T09:03:18.577" v="4"/>
            <ac:picMkLst>
              <pc:docMk/>
              <pc:sldMasterMk cId="3944855220" sldId="2147483684"/>
              <pc:sldLayoutMk cId="1274274458" sldId="2147483702"/>
              <ac:picMk id="3" creationId="{B3291CBB-9583-004F-B85E-215C2ABF767D}"/>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1516174697" sldId="2147483703"/>
          </pc:sldLayoutMkLst>
          <pc:spChg chg="mod">
            <ac:chgData name="SP - Sonja Heynen-Pianka" userId="be06f938-f672-4a6f-92da-83ac3f6030d5" providerId="ADAL" clId="{3F730320-7DB8-4D73-8406-A5984B02EBBE}" dt="2024-10-18T09:03:18.577" v="4"/>
            <ac:spMkLst>
              <pc:docMk/>
              <pc:sldMasterMk cId="3944855220" sldId="2147483684"/>
              <pc:sldLayoutMk cId="1516174697" sldId="2147483703"/>
              <ac:spMk id="4" creationId="{E7AAAED3-6F5D-6120-B16A-A7B308AF72C7}"/>
            </ac:spMkLst>
          </pc:spChg>
          <pc:spChg chg="mod">
            <ac:chgData name="SP - Sonja Heynen-Pianka" userId="be06f938-f672-4a6f-92da-83ac3f6030d5" providerId="ADAL" clId="{3F730320-7DB8-4D73-8406-A5984B02EBBE}" dt="2024-10-18T09:03:18.577" v="4"/>
            <ac:spMkLst>
              <pc:docMk/>
              <pc:sldMasterMk cId="3944855220" sldId="2147483684"/>
              <pc:sldLayoutMk cId="1516174697" sldId="2147483703"/>
              <ac:spMk id="6" creationId="{3F22ECFE-0436-FB11-2798-CE017404ED53}"/>
            </ac:spMkLst>
          </pc:spChg>
          <pc:spChg chg="mod">
            <ac:chgData name="SP - Sonja Heynen-Pianka" userId="be06f938-f672-4a6f-92da-83ac3f6030d5" providerId="ADAL" clId="{3F730320-7DB8-4D73-8406-A5984B02EBBE}" dt="2024-10-18T09:03:18.577" v="4"/>
            <ac:spMkLst>
              <pc:docMk/>
              <pc:sldMasterMk cId="3944855220" sldId="2147483684"/>
              <pc:sldLayoutMk cId="1516174697" sldId="2147483703"/>
              <ac:spMk id="7" creationId="{A49893D3-E9AF-1ADF-3B29-4567CB47A637}"/>
            </ac:spMkLst>
          </pc:spChg>
          <pc:spChg chg="mod">
            <ac:chgData name="SP - Sonja Heynen-Pianka" userId="be06f938-f672-4a6f-92da-83ac3f6030d5" providerId="ADAL" clId="{3F730320-7DB8-4D73-8406-A5984B02EBBE}" dt="2024-10-18T09:03:18.577" v="4"/>
            <ac:spMkLst>
              <pc:docMk/>
              <pc:sldMasterMk cId="3944855220" sldId="2147483684"/>
              <pc:sldLayoutMk cId="1516174697" sldId="2147483703"/>
              <ac:spMk id="8" creationId="{636A129C-6CCA-49D1-A43E-2B186D3EAB58}"/>
            </ac:spMkLst>
          </pc:spChg>
          <pc:spChg chg="mod">
            <ac:chgData name="SP - Sonja Heynen-Pianka" userId="be06f938-f672-4a6f-92da-83ac3f6030d5" providerId="ADAL" clId="{3F730320-7DB8-4D73-8406-A5984B02EBBE}" dt="2024-10-18T09:03:18.577" v="4"/>
            <ac:spMkLst>
              <pc:docMk/>
              <pc:sldMasterMk cId="3944855220" sldId="2147483684"/>
              <pc:sldLayoutMk cId="1516174697" sldId="2147483703"/>
              <ac:spMk id="10" creationId="{8E3E43B6-A8B4-FC63-5398-FDA22D7EA178}"/>
            </ac:spMkLst>
          </pc:spChg>
          <pc:spChg chg="mod">
            <ac:chgData name="SP - Sonja Heynen-Pianka" userId="be06f938-f672-4a6f-92da-83ac3f6030d5" providerId="ADAL" clId="{3F730320-7DB8-4D73-8406-A5984B02EBBE}" dt="2024-10-18T09:03:18.577" v="4"/>
            <ac:spMkLst>
              <pc:docMk/>
              <pc:sldMasterMk cId="3944855220" sldId="2147483684"/>
              <pc:sldLayoutMk cId="1516174697" sldId="2147483703"/>
              <ac:spMk id="22" creationId="{6E9BA24C-6398-9B26-22B9-89498CAE083A}"/>
            </ac:spMkLst>
          </pc:spChg>
          <pc:grpChg chg="mod">
            <ac:chgData name="SP - Sonja Heynen-Pianka" userId="be06f938-f672-4a6f-92da-83ac3f6030d5" providerId="ADAL" clId="{3F730320-7DB8-4D73-8406-A5984B02EBBE}" dt="2024-10-18T09:03:18.577" v="4"/>
            <ac:grpSpMkLst>
              <pc:docMk/>
              <pc:sldMasterMk cId="3944855220" sldId="2147483684"/>
              <pc:sldLayoutMk cId="1516174697" sldId="2147483703"/>
              <ac:grpSpMk id="5" creationId="{1809C280-03C5-C364-1A4C-436F74B7E8A8}"/>
            </ac:grpSpMkLst>
          </pc:gr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716247580" sldId="2147483704"/>
          </pc:sldLayoutMkLst>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3" creationId="{C569D226-E5FE-34DC-B135-E785D4099BAF}"/>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8" creationId="{636A129C-6CCA-49D1-A43E-2B186D3EAB58}"/>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9" creationId="{85DDF275-DC5D-E077-AD90-F0FF5BD85D83}"/>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27" creationId="{E69C6222-64D2-3CDE-8B12-FA76E69FF925}"/>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28" creationId="{F4B8F31D-3CEE-DE0E-1B6A-BA1C68E6E8A6}"/>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29" creationId="{E6C75DC2-C3BB-7379-9F21-CA3DAC970140}"/>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30" creationId="{A4DA6751-AA7B-F56F-9B56-A28840005016}"/>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31" creationId="{0CCF2B53-7D22-F26E-5134-77D776364BE9}"/>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33" creationId="{CBF8A921-D7E0-3BAB-9784-7CBB42F0AA7F}"/>
            </ac:spMkLst>
          </pc:spChg>
          <pc:spChg chg="mod">
            <ac:chgData name="SP - Sonja Heynen-Pianka" userId="be06f938-f672-4a6f-92da-83ac3f6030d5" providerId="ADAL" clId="{3F730320-7DB8-4D73-8406-A5984B02EBBE}" dt="2024-10-18T09:03:18.577" v="4"/>
            <ac:spMkLst>
              <pc:docMk/>
              <pc:sldMasterMk cId="3944855220" sldId="2147483684"/>
              <pc:sldLayoutMk cId="716247580" sldId="2147483704"/>
              <ac:spMk id="34" creationId="{C2770BF0-1967-6BA9-444D-FEA46AA287AC}"/>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871762149" sldId="2147483705"/>
          </pc:sldLayoutMkLst>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2" creationId="{9304D8A6-D743-B71A-9BE0-BA195ED89556}"/>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3" creationId="{766E7F99-2A92-6318-6F60-D1C3481ADB03}"/>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5" creationId="{457A756D-F73F-E3F7-86E9-13AB8EEF0199}"/>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0" creationId="{3EC48A66-829D-F817-D24F-A1C608C1452E}"/>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2" creationId="{FC18604A-11AF-6FEF-2C8A-73B057EED6E8}"/>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4" creationId="{5CC23B73-D1BB-240F-C5F7-C6FDE827D196}"/>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5" creationId="{E501F8FF-D67C-F9E8-EC5A-956E1BE2B520}"/>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6" creationId="{AABE0740-D847-325C-6A3B-0565A4D68681}"/>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7" creationId="{E25CFD99-7004-36BB-F088-058CEC647D0A}"/>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8" creationId="{E15A64C0-B59D-2E2F-DE77-E7DA494B7F7C}"/>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19" creationId="{30273B2F-A686-D687-D069-5D519B3CED89}"/>
            </ac:spMkLst>
          </pc:spChg>
          <pc:spChg chg="mod">
            <ac:chgData name="SP - Sonja Heynen-Pianka" userId="be06f938-f672-4a6f-92da-83ac3f6030d5" providerId="ADAL" clId="{3F730320-7DB8-4D73-8406-A5984B02EBBE}" dt="2024-10-18T09:03:18.577" v="4"/>
            <ac:spMkLst>
              <pc:docMk/>
              <pc:sldMasterMk cId="3944855220" sldId="2147483684"/>
              <pc:sldLayoutMk cId="871762149" sldId="2147483705"/>
              <ac:spMk id="20" creationId="{7DB65432-1856-15EF-0E0C-061CF8F22433}"/>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66909626" sldId="2147483706"/>
          </pc:sldLayoutMkLst>
          <pc:spChg chg="mod">
            <ac:chgData name="SP - Sonja Heynen-Pianka" userId="be06f938-f672-4a6f-92da-83ac3f6030d5" providerId="ADAL" clId="{3F730320-7DB8-4D73-8406-A5984B02EBBE}" dt="2024-10-18T09:03:18.577" v="4"/>
            <ac:spMkLst>
              <pc:docMk/>
              <pc:sldMasterMk cId="3944855220" sldId="2147483684"/>
              <pc:sldLayoutMk cId="366909626" sldId="2147483706"/>
              <ac:spMk id="2" creationId="{FCCD0E53-2E3C-83A3-332C-A1EE033105EF}"/>
            </ac:spMkLst>
          </pc:spChg>
          <pc:spChg chg="mod">
            <ac:chgData name="SP - Sonja Heynen-Pianka" userId="be06f938-f672-4a6f-92da-83ac3f6030d5" providerId="ADAL" clId="{3F730320-7DB8-4D73-8406-A5984B02EBBE}" dt="2024-10-18T09:03:18.577" v="4"/>
            <ac:spMkLst>
              <pc:docMk/>
              <pc:sldMasterMk cId="3944855220" sldId="2147483684"/>
              <pc:sldLayoutMk cId="366909626" sldId="2147483706"/>
              <ac:spMk id="5" creationId="{2EC40EB5-E79F-DD21-5FB1-C9FF5082621C}"/>
            </ac:spMkLst>
          </pc:spChg>
        </pc:sldLayoutChg>
        <pc:sldLayoutChg chg="modSp del">
          <pc:chgData name="SP - Sonja Heynen-Pianka" userId="be06f938-f672-4a6f-92da-83ac3f6030d5" providerId="ADAL" clId="{3F730320-7DB8-4D73-8406-A5984B02EBBE}" dt="2024-10-18T09:03:33.095" v="6" actId="47"/>
          <pc:sldLayoutMkLst>
            <pc:docMk/>
            <pc:sldMasterMk cId="3944855220" sldId="2147483684"/>
            <pc:sldLayoutMk cId="923370117" sldId="2147483707"/>
          </pc:sldLayoutMkLst>
          <pc:spChg chg="mod">
            <ac:chgData name="SP - Sonja Heynen-Pianka" userId="be06f938-f672-4a6f-92da-83ac3f6030d5" providerId="ADAL" clId="{3F730320-7DB8-4D73-8406-A5984B02EBBE}" dt="2024-10-18T09:03:18.577" v="4"/>
            <ac:spMkLst>
              <pc:docMk/>
              <pc:sldMasterMk cId="3944855220" sldId="2147483684"/>
              <pc:sldLayoutMk cId="923370117" sldId="2147483707"/>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23370117" sldId="2147483707"/>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23370117" sldId="2147483707"/>
              <ac:spMk id="11"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23370117" sldId="2147483707"/>
              <ac:spMk id="12" creationId="{00000000-0000-0000-0000-000000000000}"/>
            </ac:spMkLst>
          </pc:spChg>
          <pc:picChg chg="mod">
            <ac:chgData name="SP - Sonja Heynen-Pianka" userId="be06f938-f672-4a6f-92da-83ac3f6030d5" providerId="ADAL" clId="{3F730320-7DB8-4D73-8406-A5984B02EBBE}" dt="2024-10-18T09:03:18.577" v="4"/>
            <ac:picMkLst>
              <pc:docMk/>
              <pc:sldMasterMk cId="3944855220" sldId="2147483684"/>
              <pc:sldLayoutMk cId="923370117" sldId="2147483707"/>
              <ac:picMk id="7" creationId="{00000000-0000-0000-0000-000000000000}"/>
            </ac:picMkLst>
          </pc:pic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4223447897" sldId="2147483708"/>
          </pc:sldLayoutMkLst>
          <pc:spChg chg="mod">
            <ac:chgData name="SP - Sonja Heynen-Pianka" userId="be06f938-f672-4a6f-92da-83ac3f6030d5" providerId="ADAL" clId="{3F730320-7DB8-4D73-8406-A5984B02EBBE}" dt="2024-10-18T09:03:18.577" v="4"/>
            <ac:spMkLst>
              <pc:docMk/>
              <pc:sldMasterMk cId="3944855220" sldId="2147483684"/>
              <pc:sldLayoutMk cId="4223447897" sldId="2147483708"/>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223447897" sldId="2147483708"/>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223447897" sldId="2147483708"/>
              <ac:spMk id="6" creationId="{00000000-0000-0000-0000-000000000000}"/>
            </ac:spMkLst>
          </pc:spChg>
        </pc:sldLayoutChg>
        <pc:sldLayoutChg chg="modSp del">
          <pc:chgData name="SP - Sonja Heynen-Pianka" userId="be06f938-f672-4a6f-92da-83ac3f6030d5" providerId="ADAL" clId="{3F730320-7DB8-4D73-8406-A5984B02EBBE}" dt="2024-10-18T09:06:49.258" v="31" actId="47"/>
          <pc:sldLayoutMkLst>
            <pc:docMk/>
            <pc:sldMasterMk cId="3944855220" sldId="2147483684"/>
            <pc:sldLayoutMk cId="3744568745" sldId="2147483709"/>
          </pc:sldLayoutMkLst>
          <pc:spChg chg="mod">
            <ac:chgData name="SP - Sonja Heynen-Pianka" userId="be06f938-f672-4a6f-92da-83ac3f6030d5" providerId="ADAL" clId="{3F730320-7DB8-4D73-8406-A5984B02EBBE}" dt="2024-10-18T09:03:18.577" v="4"/>
            <ac:spMkLst>
              <pc:docMk/>
              <pc:sldMasterMk cId="3944855220" sldId="2147483684"/>
              <pc:sldLayoutMk cId="3744568745" sldId="2147483709"/>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744568745" sldId="2147483709"/>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744568745" sldId="2147483709"/>
              <ac:spMk id="6" creationId="{00000000-0000-0000-0000-000000000000}"/>
            </ac:spMkLst>
          </pc:spChg>
        </pc:sldLayoutChg>
        <pc:sldLayoutChg chg="modSp del">
          <pc:chgData name="SP - Sonja Heynen-Pianka" userId="be06f938-f672-4a6f-92da-83ac3f6030d5" providerId="ADAL" clId="{3F730320-7DB8-4D73-8406-A5984B02EBBE}" dt="2024-10-18T09:27:10.008" v="45" actId="47"/>
          <pc:sldLayoutMkLst>
            <pc:docMk/>
            <pc:sldMasterMk cId="3944855220" sldId="2147483684"/>
            <pc:sldLayoutMk cId="2556738571" sldId="2147483710"/>
          </pc:sldLayoutMkLst>
          <pc:spChg chg="mod">
            <ac:chgData name="SP - Sonja Heynen-Pianka" userId="be06f938-f672-4a6f-92da-83ac3f6030d5" providerId="ADAL" clId="{3F730320-7DB8-4D73-8406-A5984B02EBBE}" dt="2024-10-18T09:03:18.577" v="4"/>
            <ac:spMkLst>
              <pc:docMk/>
              <pc:sldMasterMk cId="3944855220" sldId="2147483684"/>
              <pc:sldLayoutMk cId="2556738571" sldId="2147483710"/>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56738571" sldId="2147483710"/>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556738571" sldId="2147483710"/>
              <ac:spMk id="6" creationId="{00000000-0000-0000-0000-000000000000}"/>
            </ac:spMkLst>
          </pc:spChg>
        </pc:sldLayoutChg>
        <pc:sldLayoutChg chg="modSp del">
          <pc:chgData name="SP - Sonja Heynen-Pianka" userId="be06f938-f672-4a6f-92da-83ac3f6030d5" providerId="ADAL" clId="{3F730320-7DB8-4D73-8406-A5984B02EBBE}" dt="2024-10-18T09:27:10.008" v="45" actId="47"/>
          <pc:sldLayoutMkLst>
            <pc:docMk/>
            <pc:sldMasterMk cId="3944855220" sldId="2147483684"/>
            <pc:sldLayoutMk cId="798262476" sldId="2147483711"/>
          </pc:sldLayoutMkLst>
          <pc:spChg chg="mod">
            <ac:chgData name="SP - Sonja Heynen-Pianka" userId="be06f938-f672-4a6f-92da-83ac3f6030d5" providerId="ADAL" clId="{3F730320-7DB8-4D73-8406-A5984B02EBBE}" dt="2024-10-18T09:03:18.577" v="4"/>
            <ac:spMkLst>
              <pc:docMk/>
              <pc:sldMasterMk cId="3944855220" sldId="2147483684"/>
              <pc:sldLayoutMk cId="798262476" sldId="2147483711"/>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98262476" sldId="2147483711"/>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98262476" sldId="2147483711"/>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790360499" sldId="2147483712"/>
          </pc:sldLayoutMkLst>
          <pc:spChg chg="mod">
            <ac:chgData name="SP - Sonja Heynen-Pianka" userId="be06f938-f672-4a6f-92da-83ac3f6030d5" providerId="ADAL" clId="{3F730320-7DB8-4D73-8406-A5984B02EBBE}" dt="2024-10-18T09:03:18.577" v="4"/>
            <ac:spMkLst>
              <pc:docMk/>
              <pc:sldMasterMk cId="3944855220" sldId="2147483684"/>
              <pc:sldLayoutMk cId="3790360499" sldId="2147483712"/>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790360499" sldId="2147483712"/>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790360499" sldId="2147483712"/>
              <ac:spMk id="6" creationId="{00000000-0000-0000-0000-000000000000}"/>
            </ac:spMkLst>
          </pc:spChg>
        </pc:sldLayoutChg>
        <pc:sldLayoutChg chg="modSp del">
          <pc:chgData name="SP - Sonja Heynen-Pianka" userId="be06f938-f672-4a6f-92da-83ac3f6030d5" providerId="ADAL" clId="{3F730320-7DB8-4D73-8406-A5984B02EBBE}" dt="2024-10-18T09:29:38.985" v="112" actId="47"/>
          <pc:sldLayoutMkLst>
            <pc:docMk/>
            <pc:sldMasterMk cId="3944855220" sldId="2147483684"/>
            <pc:sldLayoutMk cId="4191630032" sldId="2147483713"/>
          </pc:sldLayoutMkLst>
          <pc:spChg chg="mod">
            <ac:chgData name="SP - Sonja Heynen-Pianka" userId="be06f938-f672-4a6f-92da-83ac3f6030d5" providerId="ADAL" clId="{3F730320-7DB8-4D73-8406-A5984B02EBBE}" dt="2024-10-18T09:03:18.577" v="4"/>
            <ac:spMkLst>
              <pc:docMk/>
              <pc:sldMasterMk cId="3944855220" sldId="2147483684"/>
              <pc:sldLayoutMk cId="4191630032" sldId="2147483713"/>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191630032" sldId="2147483713"/>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191630032" sldId="2147483713"/>
              <ac:spMk id="6" creationId="{00000000-0000-0000-0000-000000000000}"/>
            </ac:spMkLst>
          </pc:spChg>
        </pc:sldLayoutChg>
        <pc:sldLayoutChg chg="modSp del">
          <pc:chgData name="SP - Sonja Heynen-Pianka" userId="be06f938-f672-4a6f-92da-83ac3f6030d5" providerId="ADAL" clId="{3F730320-7DB8-4D73-8406-A5984B02EBBE}" dt="2024-10-18T09:33:07.329" v="153" actId="47"/>
          <pc:sldLayoutMkLst>
            <pc:docMk/>
            <pc:sldMasterMk cId="3944855220" sldId="2147483684"/>
            <pc:sldLayoutMk cId="3311903592" sldId="2147483714"/>
          </pc:sldLayoutMkLst>
          <pc:spChg chg="mod">
            <ac:chgData name="SP - Sonja Heynen-Pianka" userId="be06f938-f672-4a6f-92da-83ac3f6030d5" providerId="ADAL" clId="{3F730320-7DB8-4D73-8406-A5984B02EBBE}" dt="2024-10-18T09:03:18.577" v="4"/>
            <ac:spMkLst>
              <pc:docMk/>
              <pc:sldMasterMk cId="3944855220" sldId="2147483684"/>
              <pc:sldLayoutMk cId="3311903592" sldId="2147483714"/>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311903592" sldId="2147483714"/>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311903592" sldId="2147483714"/>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1184036706" sldId="2147483715"/>
          </pc:sldLayoutMkLst>
          <pc:spChg chg="mod">
            <ac:chgData name="SP - Sonja Heynen-Pianka" userId="be06f938-f672-4a6f-92da-83ac3f6030d5" providerId="ADAL" clId="{3F730320-7DB8-4D73-8406-A5984B02EBBE}" dt="2024-10-18T09:03:18.577" v="4"/>
            <ac:spMkLst>
              <pc:docMk/>
              <pc:sldMasterMk cId="3944855220" sldId="2147483684"/>
              <pc:sldLayoutMk cId="1184036706" sldId="2147483715"/>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184036706" sldId="2147483715"/>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1184036706" sldId="2147483715"/>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855504993" sldId="2147483716"/>
          </pc:sldLayoutMkLst>
          <pc:spChg chg="mod">
            <ac:chgData name="SP - Sonja Heynen-Pianka" userId="be06f938-f672-4a6f-92da-83ac3f6030d5" providerId="ADAL" clId="{3F730320-7DB8-4D73-8406-A5984B02EBBE}" dt="2024-10-18T09:03:18.577" v="4"/>
            <ac:spMkLst>
              <pc:docMk/>
              <pc:sldMasterMk cId="3944855220" sldId="2147483684"/>
              <pc:sldLayoutMk cId="855504993" sldId="2147483716"/>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855504993" sldId="2147483716"/>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855504993" sldId="2147483716"/>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791598230" sldId="2147483717"/>
          </pc:sldLayoutMkLst>
          <pc:spChg chg="mod">
            <ac:chgData name="SP - Sonja Heynen-Pianka" userId="be06f938-f672-4a6f-92da-83ac3f6030d5" providerId="ADAL" clId="{3F730320-7DB8-4D73-8406-A5984B02EBBE}" dt="2024-10-18T09:03:18.577" v="4"/>
            <ac:spMkLst>
              <pc:docMk/>
              <pc:sldMasterMk cId="3944855220" sldId="2147483684"/>
              <pc:sldLayoutMk cId="791598230" sldId="2147483717"/>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91598230" sldId="2147483717"/>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91598230" sldId="2147483717"/>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726906507" sldId="2147483718"/>
          </pc:sldLayoutMkLst>
          <pc:spChg chg="mod">
            <ac:chgData name="SP - Sonja Heynen-Pianka" userId="be06f938-f672-4a6f-92da-83ac3f6030d5" providerId="ADAL" clId="{3F730320-7DB8-4D73-8406-A5984B02EBBE}" dt="2024-10-18T09:03:18.577" v="4"/>
            <ac:spMkLst>
              <pc:docMk/>
              <pc:sldMasterMk cId="3944855220" sldId="2147483684"/>
              <pc:sldLayoutMk cId="726906507" sldId="2147483718"/>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26906507" sldId="2147483718"/>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726906507" sldId="2147483718"/>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87097941" sldId="2147483719"/>
          </pc:sldLayoutMkLst>
          <pc:spChg chg="mod">
            <ac:chgData name="SP - Sonja Heynen-Pianka" userId="be06f938-f672-4a6f-92da-83ac3f6030d5" providerId="ADAL" clId="{3F730320-7DB8-4D73-8406-A5984B02EBBE}" dt="2024-10-18T09:03:18.577" v="4"/>
            <ac:spMkLst>
              <pc:docMk/>
              <pc:sldMasterMk cId="3944855220" sldId="2147483684"/>
              <pc:sldLayoutMk cId="87097941" sldId="2147483719"/>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87097941" sldId="2147483719"/>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87097941" sldId="2147483719"/>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499469259" sldId="2147483720"/>
          </pc:sldLayoutMkLst>
          <pc:spChg chg="mod">
            <ac:chgData name="SP - Sonja Heynen-Pianka" userId="be06f938-f672-4a6f-92da-83ac3f6030d5" providerId="ADAL" clId="{3F730320-7DB8-4D73-8406-A5984B02EBBE}" dt="2024-10-18T09:03:18.577" v="4"/>
            <ac:spMkLst>
              <pc:docMk/>
              <pc:sldMasterMk cId="3944855220" sldId="2147483684"/>
              <pc:sldLayoutMk cId="499469259" sldId="2147483720"/>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99469259" sldId="2147483720"/>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499469259" sldId="2147483720"/>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2931480743" sldId="2147483721"/>
          </pc:sldLayoutMkLst>
          <pc:spChg chg="mod">
            <ac:chgData name="SP - Sonja Heynen-Pianka" userId="be06f938-f672-4a6f-92da-83ac3f6030d5" providerId="ADAL" clId="{3F730320-7DB8-4D73-8406-A5984B02EBBE}" dt="2024-10-18T09:03:18.577" v="4"/>
            <ac:spMkLst>
              <pc:docMk/>
              <pc:sldMasterMk cId="3944855220" sldId="2147483684"/>
              <pc:sldLayoutMk cId="2931480743" sldId="2147483721"/>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931480743" sldId="2147483721"/>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2931480743" sldId="2147483721"/>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325964057" sldId="2147483722"/>
          </pc:sldLayoutMkLst>
          <pc:spChg chg="mod">
            <ac:chgData name="SP - Sonja Heynen-Pianka" userId="be06f938-f672-4a6f-92da-83ac3f6030d5" providerId="ADAL" clId="{3F730320-7DB8-4D73-8406-A5984B02EBBE}" dt="2024-10-18T09:03:18.577" v="4"/>
            <ac:spMkLst>
              <pc:docMk/>
              <pc:sldMasterMk cId="3944855220" sldId="2147483684"/>
              <pc:sldLayoutMk cId="325964057" sldId="2147483722"/>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25964057" sldId="2147483722"/>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25964057" sldId="2147483722"/>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602860836" sldId="2147483723"/>
          </pc:sldLayoutMkLst>
          <pc:spChg chg="mod">
            <ac:chgData name="SP - Sonja Heynen-Pianka" userId="be06f938-f672-4a6f-92da-83ac3f6030d5" providerId="ADAL" clId="{3F730320-7DB8-4D73-8406-A5984B02EBBE}" dt="2024-10-18T09:03:18.577" v="4"/>
            <ac:spMkLst>
              <pc:docMk/>
              <pc:sldMasterMk cId="3944855220" sldId="2147483684"/>
              <pc:sldLayoutMk cId="602860836" sldId="2147483723"/>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602860836" sldId="2147483723"/>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602860836" sldId="2147483723"/>
              <ac:spMk id="6" creationId="{00000000-0000-0000-0000-000000000000}"/>
            </ac:spMkLst>
          </pc:spChg>
        </pc:sldLayoutChg>
        <pc:sldLayoutChg chg="modSp">
          <pc:chgData name="SP - Sonja Heynen-Pianka" userId="be06f938-f672-4a6f-92da-83ac3f6030d5" providerId="ADAL" clId="{3F730320-7DB8-4D73-8406-A5984B02EBBE}" dt="2024-10-18T09:03:18.577" v="4"/>
          <pc:sldLayoutMkLst>
            <pc:docMk/>
            <pc:sldMasterMk cId="3944855220" sldId="2147483684"/>
            <pc:sldLayoutMk cId="973064193" sldId="2147483724"/>
          </pc:sldLayoutMkLst>
          <pc:spChg chg="mod">
            <ac:chgData name="SP - Sonja Heynen-Pianka" userId="be06f938-f672-4a6f-92da-83ac3f6030d5" providerId="ADAL" clId="{3F730320-7DB8-4D73-8406-A5984B02EBBE}" dt="2024-10-18T09:03:18.577" v="4"/>
            <ac:spMkLst>
              <pc:docMk/>
              <pc:sldMasterMk cId="3944855220" sldId="2147483684"/>
              <pc:sldLayoutMk cId="973064193" sldId="2147483724"/>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73064193" sldId="2147483724"/>
              <ac:spMk id="3"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973064193" sldId="2147483724"/>
              <ac:spMk id="6" creationId="{00000000-0000-0000-0000-000000000000}"/>
            </ac:spMkLst>
          </pc:spChg>
        </pc:sldLayoutChg>
        <pc:sldLayoutChg chg="modSp del">
          <pc:chgData name="SP - Sonja Heynen-Pianka" userId="be06f938-f672-4a6f-92da-83ac3f6030d5" providerId="ADAL" clId="{3F730320-7DB8-4D73-8406-A5984B02EBBE}" dt="2024-10-18T09:38:37.222" v="245" actId="47"/>
          <pc:sldLayoutMkLst>
            <pc:docMk/>
            <pc:sldMasterMk cId="3944855220" sldId="2147483684"/>
            <pc:sldLayoutMk cId="3150907608" sldId="2147483725"/>
          </pc:sldLayoutMkLst>
          <pc:spChg chg="mod">
            <ac:chgData name="SP - Sonja Heynen-Pianka" userId="be06f938-f672-4a6f-92da-83ac3f6030d5" providerId="ADAL" clId="{3F730320-7DB8-4D73-8406-A5984B02EBBE}" dt="2024-10-18T09:03:18.577" v="4"/>
            <ac:spMkLst>
              <pc:docMk/>
              <pc:sldMasterMk cId="3944855220" sldId="2147483684"/>
              <pc:sldLayoutMk cId="3150907608" sldId="2147483725"/>
              <ac:spMk id="2"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150907608" sldId="2147483725"/>
              <ac:spMk id="7" creationId="{00000000-0000-0000-0000-000000000000}"/>
            </ac:spMkLst>
          </pc:spChg>
          <pc:spChg chg="mod">
            <ac:chgData name="SP - Sonja Heynen-Pianka" userId="be06f938-f672-4a6f-92da-83ac3f6030d5" providerId="ADAL" clId="{3F730320-7DB8-4D73-8406-A5984B02EBBE}" dt="2024-10-18T09:03:18.577" v="4"/>
            <ac:spMkLst>
              <pc:docMk/>
              <pc:sldMasterMk cId="3944855220" sldId="2147483684"/>
              <pc:sldLayoutMk cId="3150907608" sldId="2147483725"/>
              <ac:spMk id="10" creationId="{46D8A27A-F036-444D-9DA0-B4303B26B383}"/>
            </ac:spMkLst>
          </pc:spChg>
          <pc:spChg chg="mod">
            <ac:chgData name="SP - Sonja Heynen-Pianka" userId="be06f938-f672-4a6f-92da-83ac3f6030d5" providerId="ADAL" clId="{3F730320-7DB8-4D73-8406-A5984B02EBBE}" dt="2024-10-18T09:03:18.577" v="4"/>
            <ac:spMkLst>
              <pc:docMk/>
              <pc:sldMasterMk cId="3944855220" sldId="2147483684"/>
              <pc:sldLayoutMk cId="3150907608" sldId="2147483725"/>
              <ac:spMk id="13" creationId="{F6493F9A-9936-4B1A-BC35-F5A930066D82}"/>
            </ac:spMkLst>
          </pc:spChg>
          <pc:picChg chg="mod">
            <ac:chgData name="SP - Sonja Heynen-Pianka" userId="be06f938-f672-4a6f-92da-83ac3f6030d5" providerId="ADAL" clId="{3F730320-7DB8-4D73-8406-A5984B02EBBE}" dt="2024-10-18T09:03:18.577" v="4"/>
            <ac:picMkLst>
              <pc:docMk/>
              <pc:sldMasterMk cId="3944855220" sldId="2147483684"/>
              <pc:sldLayoutMk cId="3150907608" sldId="2147483725"/>
              <ac:picMk id="11" creationId="{72A5A811-616A-4752-9367-6E874FDB4366}"/>
            </ac:picMkLst>
          </pc:picChg>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dirty="0">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18.10.2024</a:t>
            </a:fld>
            <a:endParaRPr lang="de-DE" dirty="0">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dirty="0">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dirty="0"/>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18.10.2024</a:t>
            </a:fld>
            <a:endParaRPr lang="de-DE" dirty="0"/>
          </a:p>
        </p:txBody>
      </p:sp>
      <p:sp>
        <p:nvSpPr>
          <p:cNvPr id="4" name="Folienbildplatzhalter 3"/>
          <p:cNvSpPr>
            <a:spLocks noGrp="1" noRot="1" noChangeAspect="1"/>
          </p:cNvSpPr>
          <p:nvPr>
            <p:ph type="sldImg" idx="2"/>
          </p:nvPr>
        </p:nvSpPr>
        <p:spPr>
          <a:xfrm>
            <a:off x="-322263" y="812800"/>
            <a:ext cx="6918326" cy="3892550"/>
          </a:xfrm>
          <a:prstGeom prst="rect">
            <a:avLst/>
          </a:prstGeom>
          <a:noFill/>
          <a:ln w="6350">
            <a:solidFill>
              <a:schemeClr val="accent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dirty="0">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dirty="0">
              <a:solidFill>
                <a:schemeClr val="accent1"/>
              </a:solidFill>
            </a:endParaRPr>
          </a:p>
        </p:txBody>
      </p:sp>
    </p:spTree>
    <p:extLst>
      <p:ext uri="{BB962C8B-B14F-4D97-AF65-F5344CB8AC3E}">
        <p14:creationId xmlns:p14="http://schemas.microsoft.com/office/powerpoint/2010/main" val="480298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4</a:t>
            </a:fld>
            <a:endParaRPr lang="de-DE" dirty="0">
              <a:solidFill>
                <a:schemeClr val="accent1"/>
              </a:solidFill>
            </a:endParaRPr>
          </a:p>
        </p:txBody>
      </p:sp>
    </p:spTree>
    <p:extLst>
      <p:ext uri="{BB962C8B-B14F-4D97-AF65-F5344CB8AC3E}">
        <p14:creationId xmlns:p14="http://schemas.microsoft.com/office/powerpoint/2010/main" val="2004187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5</a:t>
            </a:fld>
            <a:endParaRPr lang="de-DE" dirty="0">
              <a:solidFill>
                <a:schemeClr val="accent1"/>
              </a:solidFill>
            </a:endParaRPr>
          </a:p>
        </p:txBody>
      </p:sp>
    </p:spTree>
    <p:extLst>
      <p:ext uri="{BB962C8B-B14F-4D97-AF65-F5344CB8AC3E}">
        <p14:creationId xmlns:p14="http://schemas.microsoft.com/office/powerpoint/2010/main" val="765326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6</a:t>
            </a:fld>
            <a:endParaRPr lang="de-DE" dirty="0">
              <a:solidFill>
                <a:schemeClr val="accent1"/>
              </a:solidFill>
            </a:endParaRPr>
          </a:p>
        </p:txBody>
      </p:sp>
    </p:spTree>
    <p:extLst>
      <p:ext uri="{BB962C8B-B14F-4D97-AF65-F5344CB8AC3E}">
        <p14:creationId xmlns:p14="http://schemas.microsoft.com/office/powerpoint/2010/main" val="861109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7</a:t>
            </a:fld>
            <a:endParaRPr lang="de-DE" dirty="0">
              <a:solidFill>
                <a:schemeClr val="accent1"/>
              </a:solidFill>
            </a:endParaRPr>
          </a:p>
        </p:txBody>
      </p:sp>
    </p:spTree>
    <p:extLst>
      <p:ext uri="{BB962C8B-B14F-4D97-AF65-F5344CB8AC3E}">
        <p14:creationId xmlns:p14="http://schemas.microsoft.com/office/powerpoint/2010/main" val="1597141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dirty="0">
              <a:solidFill>
                <a:schemeClr val="accent1"/>
              </a:solidFill>
            </a:endParaRPr>
          </a:p>
        </p:txBody>
      </p:sp>
    </p:spTree>
    <p:extLst>
      <p:ext uri="{BB962C8B-B14F-4D97-AF65-F5344CB8AC3E}">
        <p14:creationId xmlns:p14="http://schemas.microsoft.com/office/powerpoint/2010/main" val="1186452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193B3-3917-0868-4BAC-772AD0B7355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0082632-B117-797B-B231-E77079A89E9F}"/>
              </a:ext>
            </a:extLst>
          </p:cNvPr>
          <p:cNvSpPr>
            <a:spLocks noGrp="1" noRot="1" noChangeAspect="1"/>
          </p:cNvSpPr>
          <p:nvPr>
            <p:ph type="sldImg"/>
          </p:nvPr>
        </p:nvSpPr>
        <p:spPr>
          <a:xfrm>
            <a:off x="-322263" y="812800"/>
            <a:ext cx="6918326" cy="3892550"/>
          </a:xfrm>
        </p:spPr>
      </p:sp>
      <p:sp>
        <p:nvSpPr>
          <p:cNvPr id="3" name="Notizenplatzhalter 2">
            <a:extLst>
              <a:ext uri="{FF2B5EF4-FFF2-40B4-BE49-F238E27FC236}">
                <a16:creationId xmlns:a16="http://schemas.microsoft.com/office/drawing/2014/main" id="{2D739AB9-820D-ADE0-2130-38BDE3538F6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D8F7F5B-7D06-714A-CB91-AB1CE9D938AA}"/>
              </a:ext>
            </a:extLst>
          </p:cNvPr>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dirty="0">
              <a:solidFill>
                <a:schemeClr val="accent1"/>
              </a:solidFill>
            </a:endParaRPr>
          </a:p>
        </p:txBody>
      </p:sp>
    </p:spTree>
    <p:extLst>
      <p:ext uri="{BB962C8B-B14F-4D97-AF65-F5344CB8AC3E}">
        <p14:creationId xmlns:p14="http://schemas.microsoft.com/office/powerpoint/2010/main" val="3314280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4E2C9-70BC-7586-29E7-120D4414C6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ED5BC6F-1520-F22C-8823-05BB750222C2}"/>
              </a:ext>
            </a:extLst>
          </p:cNvPr>
          <p:cNvSpPr>
            <a:spLocks noGrp="1" noRot="1" noChangeAspect="1"/>
          </p:cNvSpPr>
          <p:nvPr>
            <p:ph type="sldImg"/>
          </p:nvPr>
        </p:nvSpPr>
        <p:spPr>
          <a:xfrm>
            <a:off x="-322263" y="812800"/>
            <a:ext cx="6918326" cy="3892550"/>
          </a:xfrm>
        </p:spPr>
      </p:sp>
      <p:sp>
        <p:nvSpPr>
          <p:cNvPr id="3" name="Notizenplatzhalter 2">
            <a:extLst>
              <a:ext uri="{FF2B5EF4-FFF2-40B4-BE49-F238E27FC236}">
                <a16:creationId xmlns:a16="http://schemas.microsoft.com/office/drawing/2014/main" id="{D847E953-8755-D875-782F-B036C47FF0F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C541AB7-0B5D-BB8D-7473-71C047A7EB8A}"/>
              </a:ext>
            </a:extLst>
          </p:cNvPr>
          <p:cNvSpPr>
            <a:spLocks noGrp="1"/>
          </p:cNvSpPr>
          <p:nvPr>
            <p:ph type="sldNum" sz="quarter" idx="10"/>
          </p:nvPr>
        </p:nvSpPr>
        <p:spPr/>
        <p:txBody>
          <a:bodyPr/>
          <a:lstStyle/>
          <a:p>
            <a:pPr algn="l"/>
            <a:fld id="{253BB6F2-03BD-4F8F-B311-62B418DAEEDF}" type="slidenum">
              <a:rPr lang="de-DE" smtClean="0">
                <a:solidFill>
                  <a:schemeClr val="accent1"/>
                </a:solidFill>
              </a:rPr>
              <a:pPr algn="l"/>
              <a:t>8</a:t>
            </a:fld>
            <a:endParaRPr lang="de-DE" dirty="0">
              <a:solidFill>
                <a:schemeClr val="accent1"/>
              </a:solidFill>
            </a:endParaRPr>
          </a:p>
        </p:txBody>
      </p:sp>
    </p:spTree>
    <p:extLst>
      <p:ext uri="{BB962C8B-B14F-4D97-AF65-F5344CB8AC3E}">
        <p14:creationId xmlns:p14="http://schemas.microsoft.com/office/powerpoint/2010/main" val="3947654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9</a:t>
            </a:fld>
            <a:endParaRPr lang="de-DE" dirty="0">
              <a:solidFill>
                <a:schemeClr val="accent1"/>
              </a:solidFill>
            </a:endParaRPr>
          </a:p>
        </p:txBody>
      </p:sp>
    </p:spTree>
    <p:extLst>
      <p:ext uri="{BB962C8B-B14F-4D97-AF65-F5344CB8AC3E}">
        <p14:creationId xmlns:p14="http://schemas.microsoft.com/office/powerpoint/2010/main" val="1780172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0</a:t>
            </a:fld>
            <a:endParaRPr lang="de-DE" dirty="0">
              <a:solidFill>
                <a:schemeClr val="accent1"/>
              </a:solidFill>
            </a:endParaRPr>
          </a:p>
        </p:txBody>
      </p:sp>
    </p:spTree>
    <p:extLst>
      <p:ext uri="{BB962C8B-B14F-4D97-AF65-F5344CB8AC3E}">
        <p14:creationId xmlns:p14="http://schemas.microsoft.com/office/powerpoint/2010/main" val="1219407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1</a:t>
            </a:fld>
            <a:endParaRPr lang="de-DE" dirty="0">
              <a:solidFill>
                <a:schemeClr val="accent1"/>
              </a:solidFill>
            </a:endParaRPr>
          </a:p>
        </p:txBody>
      </p:sp>
    </p:spTree>
    <p:extLst>
      <p:ext uri="{BB962C8B-B14F-4D97-AF65-F5344CB8AC3E}">
        <p14:creationId xmlns:p14="http://schemas.microsoft.com/office/powerpoint/2010/main" val="846811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2</a:t>
            </a:fld>
            <a:endParaRPr lang="de-DE" dirty="0">
              <a:solidFill>
                <a:schemeClr val="accent1"/>
              </a:solidFill>
            </a:endParaRPr>
          </a:p>
        </p:txBody>
      </p:sp>
    </p:spTree>
    <p:extLst>
      <p:ext uri="{BB962C8B-B14F-4D97-AF65-F5344CB8AC3E}">
        <p14:creationId xmlns:p14="http://schemas.microsoft.com/office/powerpoint/2010/main" val="1329132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3</a:t>
            </a:fld>
            <a:endParaRPr lang="de-DE" dirty="0">
              <a:solidFill>
                <a:schemeClr val="accent1"/>
              </a:solidFill>
            </a:endParaRPr>
          </a:p>
        </p:txBody>
      </p:sp>
    </p:spTree>
    <p:extLst>
      <p:ext uri="{BB962C8B-B14F-4D97-AF65-F5344CB8AC3E}">
        <p14:creationId xmlns:p14="http://schemas.microsoft.com/office/powerpoint/2010/main" val="1675518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638697"/>
            <a:ext cx="5075259"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959436"/>
            <a:ext cx="5075260"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29880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3415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51937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9" y="1601093"/>
            <a:ext cx="5575303"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357090B7-3CC9-A31C-EDF2-8848140BB4B5}"/>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231965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90" y="1601094"/>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90"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A1928C7B-DD07-C4C1-ADDB-E892788ADA96}"/>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365740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3"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81" y="4254161"/>
            <a:ext cx="5326409" cy="844810"/>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378389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7"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5" y="1601094"/>
            <a:ext cx="1608432" cy="2181803"/>
          </a:xfrm>
          <a:solidFill>
            <a:schemeClr val="accent1"/>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Clr>
                <a:schemeClr val="bg1"/>
              </a:buClr>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4"/>
            <a:ext cx="1608432" cy="2181803"/>
          </a:xfrm>
          <a:solidFill>
            <a:schemeClr val="accent5"/>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7"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5" y="3926896"/>
            <a:ext cx="1608432" cy="2181803"/>
          </a:xfrm>
          <a:solidFill>
            <a:schemeClr val="accent2"/>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6"/>
            <a:ext cx="1608432" cy="2181803"/>
          </a:xfrm>
          <a:solidFill>
            <a:schemeClr val="tx2"/>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C09407EA-4CC1-1C7D-381E-CFD2BBE07F5D}"/>
              </a:ext>
            </a:extLst>
          </p:cNvPr>
          <p:cNvPicPr>
            <a:picLocks noChangeAspect="1"/>
          </p:cNvPicPr>
          <p:nvPr userDrawn="1"/>
        </p:nvPicPr>
        <p:blipFill>
          <a:blip r:embed="rId5"/>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245038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2"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0" y="1601094"/>
            <a:ext cx="8013523"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4AC85BEF-493D-BD1A-2FAE-7AE7F3347E43}"/>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290099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3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03641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1"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7427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6"/>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5"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1617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7"/>
            <a:ext cx="5075259"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663685"/>
            <a:ext cx="5075260"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1403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1"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1"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609524"/>
            <a:ext cx="751211"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2" y="3534645"/>
            <a:ext cx="2987948"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97987"/>
            <a:ext cx="751211"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1"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70"/>
            <a:ext cx="3600016"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1624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1" y="1936859"/>
            <a:ext cx="5176700"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7" y="5750678"/>
            <a:ext cx="2984700"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1"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7" y="596550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7" y="618386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7" y="6398689"/>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87176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2"/>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3" y="5064468"/>
            <a:ext cx="11145835" cy="1028358"/>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36690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2234478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7903604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1840367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55504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915982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26906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70979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4" y="1600200"/>
            <a:ext cx="6102927"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6"/>
            <a:ext cx="5288096"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DEF780B1-CEAC-4C4B-45AC-6E5CE1AC9CFE}"/>
              </a:ext>
            </a:extLst>
          </p:cNvPr>
          <p:cNvPicPr>
            <a:picLocks noChangeAspect="1"/>
          </p:cNvPicPr>
          <p:nvPr userDrawn="1"/>
        </p:nvPicPr>
        <p:blipFill>
          <a:blip r:embed="rId3"/>
          <a:stretch>
            <a:fillRect/>
          </a:stretch>
        </p:blipFill>
        <p:spPr>
          <a:xfrm>
            <a:off x="7193986" y="246116"/>
            <a:ext cx="4419983" cy="1255885"/>
          </a:xfrm>
          <a:prstGeom prst="rect">
            <a:avLst/>
          </a:prstGeom>
        </p:spPr>
      </p:pic>
    </p:spTree>
    <p:custDataLst>
      <p:tags r:id="rId1"/>
    </p:custDataLst>
    <p:extLst>
      <p:ext uri="{BB962C8B-B14F-4D97-AF65-F5344CB8AC3E}">
        <p14:creationId xmlns:p14="http://schemas.microsoft.com/office/powerpoint/2010/main" val="56012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994692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9314807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259640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6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6028608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7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9730641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sp>
        <p:nvSpPr>
          <p:cNvPr id="11" name="Rechteck 10"/>
          <p:cNvSpPr/>
          <p:nvPr userDrawn="1"/>
        </p:nvSpPr>
        <p:spPr>
          <a:xfrm>
            <a:off x="2244003" y="1628800"/>
            <a:ext cx="9947996" cy="2636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bg1"/>
              </a:solidFill>
            </a:endParaRPr>
          </a:p>
        </p:txBody>
      </p:sp>
      <p:sp>
        <p:nvSpPr>
          <p:cNvPr id="2" name="Titel 1"/>
          <p:cNvSpPr>
            <a:spLocks noGrp="1"/>
          </p:cNvSpPr>
          <p:nvPr>
            <p:ph type="ctrTitle"/>
          </p:nvPr>
        </p:nvSpPr>
        <p:spPr>
          <a:xfrm>
            <a:off x="2441701" y="2160040"/>
            <a:ext cx="9125883" cy="1189373"/>
          </a:xfrm>
        </p:spPr>
        <p:txBody>
          <a:bodyPr anchor="b"/>
          <a:lstStyle>
            <a:lvl1pPr>
              <a:lnSpc>
                <a:spcPct val="100000"/>
              </a:lnSpc>
              <a:defRPr sz="36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2441701" y="3456183"/>
            <a:ext cx="9125883" cy="413033"/>
          </a:xfrm>
        </p:spPr>
        <p:txBody>
          <a:bodyPr>
            <a:noAutofit/>
          </a:bodyPr>
          <a:lstStyle>
            <a:lvl1pPr marL="0" indent="0" algn="l">
              <a:buNone/>
              <a:defRPr sz="16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Rechteck 11"/>
          <p:cNvSpPr/>
          <p:nvPr userDrawn="1"/>
        </p:nvSpPr>
        <p:spPr>
          <a:xfrm>
            <a:off x="3898" y="1628800"/>
            <a:ext cx="2146060" cy="26369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6" name="Bildplatzhalter 5"/>
          <p:cNvSpPr>
            <a:spLocks noGrp="1"/>
          </p:cNvSpPr>
          <p:nvPr>
            <p:ph type="pic" sz="quarter" idx="10"/>
          </p:nvPr>
        </p:nvSpPr>
        <p:spPr>
          <a:xfrm>
            <a:off x="0" y="0"/>
            <a:ext cx="12192000" cy="1558800"/>
          </a:xfrm>
          <a:noFill/>
        </p:spPr>
        <p:txBody>
          <a:bodyPr/>
          <a:lstStyle>
            <a:lvl1pPr>
              <a:defRPr>
                <a:solidFill>
                  <a:schemeClr val="accent1"/>
                </a:solidFill>
              </a:defRPr>
            </a:lvl1pPr>
          </a:lstStyle>
          <a:p>
            <a:r>
              <a:rPr lang="de-DE" dirty="0"/>
              <a:t>Bild durch Klicken auf Symbol hinzufüge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8001" y="5013176"/>
            <a:ext cx="4687289" cy="1228838"/>
          </a:xfrm>
          <a:prstGeom prst="rect">
            <a:avLst/>
          </a:prstGeom>
        </p:spPr>
      </p:pic>
    </p:spTree>
    <p:extLst>
      <p:ext uri="{BB962C8B-B14F-4D97-AF65-F5344CB8AC3E}">
        <p14:creationId xmlns:p14="http://schemas.microsoft.com/office/powerpoint/2010/main" val="252921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p>
            <a:r>
              <a:rPr lang="de-DE"/>
              <a:t>© 2018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30979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fld id="{9564BF1B-7A00-4FDB-9ACC-13A0BEC11AB6}" type="slidenum">
              <a:rPr lang="de-DE" smtClean="0"/>
              <a:pPr/>
              <a:t>‹Nr.›</a:t>
            </a:fld>
            <a:endParaRPr lang="de-DE" dirty="0"/>
          </a:p>
        </p:txBody>
      </p:sp>
      <p:sp>
        <p:nvSpPr>
          <p:cNvPr id="8" name="Inhaltsplatzhalter 7"/>
          <p:cNvSpPr>
            <a:spLocks noGrp="1"/>
          </p:cNvSpPr>
          <p:nvPr>
            <p:ph sz="quarter" idx="13"/>
          </p:nvPr>
        </p:nvSpPr>
        <p:spPr>
          <a:xfrm>
            <a:off x="624417" y="1628775"/>
            <a:ext cx="5184000" cy="4508500"/>
          </a:xfrm>
        </p:spPr>
        <p:txBody>
          <a:bodyPr/>
          <a:lstStyle/>
          <a:p>
            <a:pPr lvl="0"/>
            <a:r>
              <a:rPr lang="de-DE"/>
              <a:t>Textmasterformat bearbeiten</a:t>
            </a:r>
          </a:p>
          <a:p>
            <a:pPr lvl="1"/>
            <a:r>
              <a:rPr lang="de-DE"/>
              <a:t>Zweite Ebene</a:t>
            </a:r>
          </a:p>
          <a:p>
            <a:pPr lvl="2"/>
            <a:r>
              <a:rPr lang="de-DE"/>
              <a:t>Dritte Ebene</a:t>
            </a:r>
          </a:p>
        </p:txBody>
      </p:sp>
      <p:sp>
        <p:nvSpPr>
          <p:cNvPr id="9" name="Inhaltsplatzhalter 7"/>
          <p:cNvSpPr>
            <a:spLocks noGrp="1"/>
          </p:cNvSpPr>
          <p:nvPr>
            <p:ph sz="quarter" idx="14"/>
          </p:nvPr>
        </p:nvSpPr>
        <p:spPr>
          <a:xfrm>
            <a:off x="6288021" y="1628775"/>
            <a:ext cx="5184312" cy="4508500"/>
          </a:xfrm>
        </p:spPr>
        <p:txBody>
          <a:bodyPr/>
          <a:lstStyle/>
          <a:p>
            <a:pPr lvl="0"/>
            <a:r>
              <a:rPr lang="de-DE"/>
              <a:t>Textmasterformat bearbeiten</a:t>
            </a:r>
          </a:p>
          <a:p>
            <a:pPr lvl="1"/>
            <a:r>
              <a:rPr lang="de-DE"/>
              <a:t>Zweite Ebene</a:t>
            </a:r>
          </a:p>
          <a:p>
            <a:pPr lvl="2"/>
            <a:r>
              <a:rPr lang="de-DE"/>
              <a:t>Dritte Ebene</a:t>
            </a:r>
          </a:p>
        </p:txBody>
      </p:sp>
      <p:sp>
        <p:nvSpPr>
          <p:cNvPr id="3" name="Fußzeilenplatzhalter 2"/>
          <p:cNvSpPr>
            <a:spLocks noGrp="1"/>
          </p:cNvSpPr>
          <p:nvPr>
            <p:ph type="ftr" sz="quarter" idx="15"/>
          </p:nvPr>
        </p:nvSpPr>
        <p:spPr/>
        <p:txBody>
          <a:bodyPr/>
          <a:lstStyle/>
          <a:p>
            <a:r>
              <a:rPr lang="de-DE"/>
              <a:t>© 2018 - Unterweisung Plus</a:t>
            </a:r>
            <a:endParaRPr lang="de-DE" dirty="0"/>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58561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Zwei Inhalte mit Überschriften">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624000" y="1628775"/>
            <a:ext cx="5184000" cy="496800"/>
          </a:xfrm>
          <a:solidFill>
            <a:schemeClr val="accent1"/>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Überschrift</a:t>
            </a:r>
          </a:p>
        </p:txBody>
      </p:sp>
      <p:sp>
        <p:nvSpPr>
          <p:cNvPr id="5" name="Textplatzhalter 4"/>
          <p:cNvSpPr>
            <a:spLocks noGrp="1"/>
          </p:cNvSpPr>
          <p:nvPr>
            <p:ph type="body" sz="quarter" idx="3" hasCustomPrompt="1"/>
          </p:nvPr>
        </p:nvSpPr>
        <p:spPr>
          <a:xfrm>
            <a:off x="6288333" y="1628775"/>
            <a:ext cx="5184000" cy="496800"/>
          </a:xfrm>
          <a:solidFill>
            <a:schemeClr val="accent2"/>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Überschrift</a:t>
            </a:r>
          </a:p>
        </p:txBody>
      </p:sp>
      <p:sp>
        <p:nvSpPr>
          <p:cNvPr id="9" name="Foliennummernplatzhalter 8"/>
          <p:cNvSpPr>
            <a:spLocks noGrp="1"/>
          </p:cNvSpPr>
          <p:nvPr>
            <p:ph type="sldNum" sz="quarter" idx="12"/>
          </p:nvPr>
        </p:nvSpPr>
        <p:spPr/>
        <p:txBody>
          <a:bodyPr/>
          <a:lstStyle/>
          <a:p>
            <a:fld id="{9564BF1B-7A00-4FDB-9ACC-13A0BEC11AB6}" type="slidenum">
              <a:rPr lang="de-DE" smtClean="0"/>
              <a:pPr/>
              <a:t>‹Nr.›</a:t>
            </a:fld>
            <a:endParaRPr lang="de-DE" dirty="0"/>
          </a:p>
        </p:txBody>
      </p:sp>
      <p:sp>
        <p:nvSpPr>
          <p:cNvPr id="10" name="Inhaltsplatzhalter 7"/>
          <p:cNvSpPr>
            <a:spLocks noGrp="1"/>
          </p:cNvSpPr>
          <p:nvPr>
            <p:ph sz="quarter" idx="13"/>
          </p:nvPr>
        </p:nvSpPr>
        <p:spPr>
          <a:xfrm>
            <a:off x="624418" y="2141275"/>
            <a:ext cx="5183551" cy="3996000"/>
          </a:xfrm>
          <a:solidFill>
            <a:schemeClr val="accent1">
              <a:lumMod val="20000"/>
              <a:lumOff val="80000"/>
            </a:schemeClr>
          </a:solid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11" name="Inhaltsplatzhalter 7"/>
          <p:cNvSpPr>
            <a:spLocks noGrp="1"/>
          </p:cNvSpPr>
          <p:nvPr>
            <p:ph sz="quarter" idx="14"/>
          </p:nvPr>
        </p:nvSpPr>
        <p:spPr>
          <a:xfrm>
            <a:off x="6288021" y="2141275"/>
            <a:ext cx="5184312" cy="3996000"/>
          </a:xfrm>
          <a:solidFill>
            <a:schemeClr val="accent2">
              <a:lumMod val="20000"/>
              <a:lumOff val="80000"/>
            </a:schemeClr>
          </a:solid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4" name="Fußzeilenplatzhalter 3"/>
          <p:cNvSpPr>
            <a:spLocks noGrp="1"/>
          </p:cNvSpPr>
          <p:nvPr>
            <p:ph type="ftr" sz="quarter" idx="15"/>
          </p:nvPr>
        </p:nvSpPr>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9646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rei Inhalte mit Überschriften">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624000" y="1628775"/>
            <a:ext cx="3504000" cy="496800"/>
          </a:xfrm>
          <a:solidFill>
            <a:schemeClr val="accent1"/>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überschrift</a:t>
            </a:r>
          </a:p>
        </p:txBody>
      </p:sp>
      <p:sp>
        <p:nvSpPr>
          <p:cNvPr id="5" name="Textplatzhalter 4"/>
          <p:cNvSpPr>
            <a:spLocks noGrp="1"/>
          </p:cNvSpPr>
          <p:nvPr>
            <p:ph type="body" sz="quarter" idx="3" hasCustomPrompt="1"/>
          </p:nvPr>
        </p:nvSpPr>
        <p:spPr>
          <a:xfrm>
            <a:off x="4296532" y="1628775"/>
            <a:ext cx="3504000" cy="496800"/>
          </a:xfrm>
          <a:solidFill>
            <a:schemeClr val="accent2"/>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überschrift</a:t>
            </a:r>
          </a:p>
        </p:txBody>
      </p:sp>
      <p:sp>
        <p:nvSpPr>
          <p:cNvPr id="9" name="Foliennummernplatzhalter 8"/>
          <p:cNvSpPr>
            <a:spLocks noGrp="1"/>
          </p:cNvSpPr>
          <p:nvPr>
            <p:ph type="sldNum" sz="quarter" idx="12"/>
          </p:nvPr>
        </p:nvSpPr>
        <p:spPr/>
        <p:txBody>
          <a:bodyPr/>
          <a:lstStyle/>
          <a:p>
            <a:fld id="{9564BF1B-7A00-4FDB-9ACC-13A0BEC11AB6}" type="slidenum">
              <a:rPr lang="de-DE" smtClean="0"/>
              <a:pPr/>
              <a:t>‹Nr.›</a:t>
            </a:fld>
            <a:endParaRPr lang="de-DE" dirty="0"/>
          </a:p>
        </p:txBody>
      </p:sp>
      <p:sp>
        <p:nvSpPr>
          <p:cNvPr id="10" name="Inhaltsplatzhalter 7"/>
          <p:cNvSpPr>
            <a:spLocks noGrp="1"/>
          </p:cNvSpPr>
          <p:nvPr>
            <p:ph sz="quarter" idx="13"/>
          </p:nvPr>
        </p:nvSpPr>
        <p:spPr>
          <a:xfrm>
            <a:off x="624417" y="2141275"/>
            <a:ext cx="3504000" cy="3996000"/>
          </a:xfrm>
          <a:solidFill>
            <a:schemeClr val="accent1">
              <a:lumMod val="20000"/>
              <a:lumOff val="80000"/>
            </a:schemeClr>
          </a:solid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11" name="Inhaltsplatzhalter 7"/>
          <p:cNvSpPr>
            <a:spLocks noGrp="1"/>
          </p:cNvSpPr>
          <p:nvPr>
            <p:ph sz="quarter" idx="14"/>
          </p:nvPr>
        </p:nvSpPr>
        <p:spPr>
          <a:xfrm>
            <a:off x="4296531" y="2141275"/>
            <a:ext cx="3504000" cy="3996000"/>
          </a:xfrm>
          <a:solidFill>
            <a:schemeClr val="accent2">
              <a:lumMod val="20000"/>
              <a:lumOff val="80000"/>
            </a:schemeClr>
          </a:solid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12" name="Textplatzhalter 4"/>
          <p:cNvSpPr>
            <a:spLocks noGrp="1"/>
          </p:cNvSpPr>
          <p:nvPr>
            <p:ph type="body" sz="quarter" idx="15" hasCustomPrompt="1"/>
          </p:nvPr>
        </p:nvSpPr>
        <p:spPr>
          <a:xfrm>
            <a:off x="7968645" y="1628775"/>
            <a:ext cx="3504000" cy="496800"/>
          </a:xfrm>
          <a:solidFill>
            <a:schemeClr val="accent4"/>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überschrift</a:t>
            </a:r>
          </a:p>
        </p:txBody>
      </p:sp>
      <p:sp>
        <p:nvSpPr>
          <p:cNvPr id="13" name="Inhaltsplatzhalter 7"/>
          <p:cNvSpPr>
            <a:spLocks noGrp="1"/>
          </p:cNvSpPr>
          <p:nvPr>
            <p:ph sz="quarter" idx="16"/>
          </p:nvPr>
        </p:nvSpPr>
        <p:spPr>
          <a:xfrm>
            <a:off x="7968645" y="2141275"/>
            <a:ext cx="3504000" cy="3996000"/>
          </a:xfrm>
          <a:solidFill>
            <a:schemeClr val="accent4">
              <a:lumMod val="20000"/>
              <a:lumOff val="80000"/>
            </a:schemeClr>
          </a:solid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4" name="Fußzeilenplatzhalter 3"/>
          <p:cNvSpPr>
            <a:spLocks noGrp="1"/>
          </p:cNvSpPr>
          <p:nvPr>
            <p:ph type="ftr" sz="quarter" idx="17"/>
          </p:nvPr>
        </p:nvSpPr>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25457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4" y="3684222"/>
            <a:ext cx="5571988"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7"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3"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96955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er Inhalte bunt">
    <p:spTree>
      <p:nvGrpSpPr>
        <p:cNvPr id="1" name=""/>
        <p:cNvGrpSpPr/>
        <p:nvPr/>
      </p:nvGrpSpPr>
      <p:grpSpPr>
        <a:xfrm>
          <a:off x="0" y="0"/>
          <a:ext cx="0" cy="0"/>
          <a:chOff x="0" y="0"/>
          <a:chExt cx="0" cy="0"/>
        </a:xfrm>
      </p:grpSpPr>
      <p:sp>
        <p:nvSpPr>
          <p:cNvPr id="9" name="Rechteck 8"/>
          <p:cNvSpPr/>
          <p:nvPr userDrawn="1"/>
        </p:nvSpPr>
        <p:spPr>
          <a:xfrm>
            <a:off x="5683200" y="1628774"/>
            <a:ext cx="5789133" cy="23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3" name="Rechteck 2"/>
          <p:cNvSpPr/>
          <p:nvPr userDrawn="1"/>
        </p:nvSpPr>
        <p:spPr>
          <a:xfrm>
            <a:off x="5683200" y="4121275"/>
            <a:ext cx="2784000" cy="201600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000" y="1628775"/>
            <a:ext cx="4896544" cy="45072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6" name="Inhaltsplatzhalter 5"/>
          <p:cNvSpPr>
            <a:spLocks noGrp="1"/>
          </p:cNvSpPr>
          <p:nvPr>
            <p:ph sz="quarter" idx="12"/>
          </p:nvPr>
        </p:nvSpPr>
        <p:spPr>
          <a:xfrm>
            <a:off x="624000" y="1628775"/>
            <a:ext cx="4896000" cy="4508500"/>
          </a:xfrm>
          <a:noFill/>
        </p:spPr>
        <p:txBody>
          <a:bodyPr lIns="90000" tIns="46800" rIns="90000" bIns="46800">
            <a:no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5" name="Fußzeilenplatzhalter 4"/>
          <p:cNvSpPr>
            <a:spLocks noGrp="1"/>
          </p:cNvSpPr>
          <p:nvPr>
            <p:ph type="ftr" sz="quarter" idx="16"/>
          </p:nvPr>
        </p:nvSpPr>
        <p:spPr>
          <a:xfrm>
            <a:off x="624000" y="6525344"/>
            <a:ext cx="10670400" cy="252000"/>
          </a:xfrm>
        </p:spPr>
        <p:txBody>
          <a:bodyPr/>
          <a:lstStyle/>
          <a:p>
            <a:r>
              <a:rPr lang="de-DE"/>
              <a:t>© 2018 - Unterweisung Plus</a:t>
            </a:r>
            <a:endParaRPr lang="de-DE" dirty="0"/>
          </a:p>
        </p:txBody>
      </p:sp>
      <p:sp>
        <p:nvSpPr>
          <p:cNvPr id="7" name="Titel 6"/>
          <p:cNvSpPr>
            <a:spLocks noGrp="1"/>
          </p:cNvSpPr>
          <p:nvPr>
            <p:ph type="title"/>
          </p:nvPr>
        </p:nvSpPr>
        <p:spPr/>
        <p:txBody>
          <a:bodyPr/>
          <a:lstStyle/>
          <a:p>
            <a:r>
              <a:rPr lang="de-DE"/>
              <a:t>Titelmasterformat durch Klicken bearbeiten</a:t>
            </a:r>
          </a:p>
        </p:txBody>
      </p:sp>
      <p:sp>
        <p:nvSpPr>
          <p:cNvPr id="12" name="Inhaltsplatzhalter 5"/>
          <p:cNvSpPr>
            <a:spLocks noGrp="1"/>
          </p:cNvSpPr>
          <p:nvPr>
            <p:ph sz="quarter" idx="17"/>
          </p:nvPr>
        </p:nvSpPr>
        <p:spPr>
          <a:xfrm>
            <a:off x="5683200" y="1628776"/>
            <a:ext cx="5789133" cy="2339999"/>
          </a:xfrm>
          <a:noFill/>
        </p:spPr>
        <p:txBody>
          <a:bodyPr lIns="90000" tIns="46800" rIns="90000" bIns="46800">
            <a:no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3" name="Rechteck 12"/>
          <p:cNvSpPr/>
          <p:nvPr userDrawn="1"/>
        </p:nvSpPr>
        <p:spPr>
          <a:xfrm>
            <a:off x="8640333" y="4121275"/>
            <a:ext cx="2832000" cy="2016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16" name="Inhaltsplatzhalter 15"/>
          <p:cNvSpPr>
            <a:spLocks noGrp="1"/>
          </p:cNvSpPr>
          <p:nvPr>
            <p:ph sz="quarter" idx="18"/>
          </p:nvPr>
        </p:nvSpPr>
        <p:spPr>
          <a:xfrm>
            <a:off x="5683200" y="4121275"/>
            <a:ext cx="2784000" cy="2016000"/>
          </a:xfrm>
        </p:spPr>
        <p:txBody>
          <a:bodyPr/>
          <a:lstStyle>
            <a:lvl1pPr>
              <a:defRPr>
                <a:solidFill>
                  <a:schemeClr val="accent1"/>
                </a:solidFill>
              </a:defRPr>
            </a:lvl1pPr>
            <a:lvl2pPr>
              <a:defRPr>
                <a:solidFill>
                  <a:schemeClr val="accent1"/>
                </a:solidFill>
              </a:defRPr>
            </a:lvl2pPr>
            <a:lvl3pPr>
              <a:defRPr>
                <a:solidFill>
                  <a:schemeClr val="accent1"/>
                </a:solidFill>
              </a:defRPr>
            </a:lvl3pPr>
          </a:lstStyle>
          <a:p>
            <a:pPr lvl="0"/>
            <a:r>
              <a:rPr lang="de-DE"/>
              <a:t>Textmasterformat bearbeiten</a:t>
            </a:r>
          </a:p>
          <a:p>
            <a:pPr lvl="1"/>
            <a:r>
              <a:rPr lang="de-DE"/>
              <a:t>Zweite Ebene</a:t>
            </a:r>
          </a:p>
          <a:p>
            <a:pPr lvl="2"/>
            <a:r>
              <a:rPr lang="de-DE"/>
              <a:t>Dritte Ebene</a:t>
            </a:r>
          </a:p>
        </p:txBody>
      </p:sp>
      <p:sp>
        <p:nvSpPr>
          <p:cNvPr id="17" name="Inhaltsplatzhalter 15"/>
          <p:cNvSpPr>
            <a:spLocks noGrp="1"/>
          </p:cNvSpPr>
          <p:nvPr>
            <p:ph sz="quarter" idx="19"/>
          </p:nvPr>
        </p:nvSpPr>
        <p:spPr>
          <a:xfrm>
            <a:off x="8640333" y="4121275"/>
            <a:ext cx="2832000" cy="2016000"/>
          </a:xfrm>
        </p:spPr>
        <p:txBody>
          <a:body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5457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rei Inhalte blau/grau">
    <p:spTree>
      <p:nvGrpSpPr>
        <p:cNvPr id="1" name=""/>
        <p:cNvGrpSpPr/>
        <p:nvPr/>
      </p:nvGrpSpPr>
      <p:grpSpPr>
        <a:xfrm>
          <a:off x="0" y="0"/>
          <a:ext cx="0" cy="0"/>
          <a:chOff x="0" y="0"/>
          <a:chExt cx="0" cy="0"/>
        </a:xfrm>
      </p:grpSpPr>
      <p:sp>
        <p:nvSpPr>
          <p:cNvPr id="9" name="Rechteck 8"/>
          <p:cNvSpPr/>
          <p:nvPr userDrawn="1"/>
        </p:nvSpPr>
        <p:spPr>
          <a:xfrm>
            <a:off x="2735627" y="4697275"/>
            <a:ext cx="8736791" cy="144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8" name="Rechteck 7"/>
          <p:cNvSpPr/>
          <p:nvPr userDrawn="1"/>
        </p:nvSpPr>
        <p:spPr>
          <a:xfrm>
            <a:off x="624418" y="4697275"/>
            <a:ext cx="1919188" cy="14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417" y="1628775"/>
            <a:ext cx="10848000" cy="29232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5" name="Fußzeilenplatzhalter 4"/>
          <p:cNvSpPr>
            <a:spLocks noGrp="1"/>
          </p:cNvSpPr>
          <p:nvPr>
            <p:ph type="ftr" sz="quarter" idx="17"/>
          </p:nvPr>
        </p:nvSpPr>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
        <p:nvSpPr>
          <p:cNvPr id="7" name="Inhaltsplatzhalter 6"/>
          <p:cNvSpPr>
            <a:spLocks noGrp="1"/>
          </p:cNvSpPr>
          <p:nvPr>
            <p:ph sz="quarter" idx="18"/>
          </p:nvPr>
        </p:nvSpPr>
        <p:spPr>
          <a:xfrm>
            <a:off x="624502" y="1628775"/>
            <a:ext cx="10847916" cy="2922588"/>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2" name="Inhaltsplatzhalter 6"/>
          <p:cNvSpPr>
            <a:spLocks noGrp="1"/>
          </p:cNvSpPr>
          <p:nvPr>
            <p:ph sz="quarter" idx="19"/>
          </p:nvPr>
        </p:nvSpPr>
        <p:spPr>
          <a:xfrm>
            <a:off x="624418" y="4697275"/>
            <a:ext cx="1919188" cy="144000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p:txBody>
      </p:sp>
      <p:sp>
        <p:nvSpPr>
          <p:cNvPr id="16" name="Inhaltsplatzhalter 15"/>
          <p:cNvSpPr>
            <a:spLocks noGrp="1"/>
          </p:cNvSpPr>
          <p:nvPr>
            <p:ph sz="quarter" idx="20"/>
          </p:nvPr>
        </p:nvSpPr>
        <p:spPr>
          <a:xfrm>
            <a:off x="2734733" y="4697413"/>
            <a:ext cx="8737600" cy="1439862"/>
          </a:xfrm>
        </p:spPr>
        <p:txBody>
          <a:body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03561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er Inhalte bunt - Variante 2">
    <p:spTree>
      <p:nvGrpSpPr>
        <p:cNvPr id="1" name=""/>
        <p:cNvGrpSpPr/>
        <p:nvPr/>
      </p:nvGrpSpPr>
      <p:grpSpPr>
        <a:xfrm>
          <a:off x="0" y="0"/>
          <a:ext cx="0" cy="0"/>
          <a:chOff x="0" y="0"/>
          <a:chExt cx="0" cy="0"/>
        </a:xfrm>
      </p:grpSpPr>
      <p:sp>
        <p:nvSpPr>
          <p:cNvPr id="3" name="Rechteck 2"/>
          <p:cNvSpPr/>
          <p:nvPr userDrawn="1"/>
        </p:nvSpPr>
        <p:spPr>
          <a:xfrm>
            <a:off x="624416" y="3186000"/>
            <a:ext cx="6648000" cy="29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8" name="Rechteck 7"/>
          <p:cNvSpPr/>
          <p:nvPr userDrawn="1"/>
        </p:nvSpPr>
        <p:spPr>
          <a:xfrm>
            <a:off x="7430400" y="3186000"/>
            <a:ext cx="4041600" cy="2952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416" y="1627200"/>
            <a:ext cx="6648000" cy="14184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9" name="Rechteck 8"/>
          <p:cNvSpPr/>
          <p:nvPr userDrawn="1"/>
        </p:nvSpPr>
        <p:spPr>
          <a:xfrm>
            <a:off x="7430400" y="1627200"/>
            <a:ext cx="4041600" cy="1418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5" name="Fußzeilenplatzhalter 4"/>
          <p:cNvSpPr>
            <a:spLocks noGrp="1"/>
          </p:cNvSpPr>
          <p:nvPr>
            <p:ph type="ftr" sz="quarter" idx="18"/>
          </p:nvPr>
        </p:nvSpPr>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
        <p:nvSpPr>
          <p:cNvPr id="16" name="Inhaltsplatzhalter 15"/>
          <p:cNvSpPr>
            <a:spLocks noGrp="1"/>
          </p:cNvSpPr>
          <p:nvPr>
            <p:ph sz="quarter" idx="19"/>
          </p:nvPr>
        </p:nvSpPr>
        <p:spPr>
          <a:xfrm>
            <a:off x="624418" y="1627189"/>
            <a:ext cx="6648449" cy="14176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8" name="Inhaltsplatzhalter 17"/>
          <p:cNvSpPr>
            <a:spLocks noGrp="1"/>
          </p:cNvSpPr>
          <p:nvPr>
            <p:ph sz="quarter" idx="20"/>
          </p:nvPr>
        </p:nvSpPr>
        <p:spPr>
          <a:xfrm>
            <a:off x="624418" y="3186113"/>
            <a:ext cx="6648449" cy="29511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p:txBody>
      </p:sp>
      <p:sp>
        <p:nvSpPr>
          <p:cNvPr id="20" name="Inhaltsplatzhalter 19"/>
          <p:cNvSpPr>
            <a:spLocks noGrp="1"/>
          </p:cNvSpPr>
          <p:nvPr>
            <p:ph sz="quarter" idx="21"/>
          </p:nvPr>
        </p:nvSpPr>
        <p:spPr>
          <a:xfrm>
            <a:off x="7429501" y="1627189"/>
            <a:ext cx="4042833" cy="1417637"/>
          </a:xfrm>
        </p:spPr>
        <p:txBody>
          <a:bodyPr/>
          <a:lstStyle/>
          <a:p>
            <a:pPr lvl="0"/>
            <a:r>
              <a:rPr lang="de-DE"/>
              <a:t>Textmasterformat bearbeiten</a:t>
            </a:r>
          </a:p>
          <a:p>
            <a:pPr lvl="1"/>
            <a:r>
              <a:rPr lang="de-DE"/>
              <a:t>Zweite Ebene</a:t>
            </a:r>
          </a:p>
          <a:p>
            <a:pPr lvl="2"/>
            <a:r>
              <a:rPr lang="de-DE"/>
              <a:t>Dritte Ebene</a:t>
            </a:r>
          </a:p>
        </p:txBody>
      </p:sp>
      <p:sp>
        <p:nvSpPr>
          <p:cNvPr id="22" name="Inhaltsplatzhalter 21"/>
          <p:cNvSpPr>
            <a:spLocks noGrp="1"/>
          </p:cNvSpPr>
          <p:nvPr>
            <p:ph sz="quarter" idx="22"/>
          </p:nvPr>
        </p:nvSpPr>
        <p:spPr>
          <a:xfrm>
            <a:off x="7429501" y="3186113"/>
            <a:ext cx="4042833" cy="2951162"/>
          </a:xfrm>
        </p:spPr>
        <p:txBody>
          <a:body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389168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rei Inhalte bunt">
    <p:spTree>
      <p:nvGrpSpPr>
        <p:cNvPr id="1" name=""/>
        <p:cNvGrpSpPr/>
        <p:nvPr/>
      </p:nvGrpSpPr>
      <p:grpSpPr>
        <a:xfrm>
          <a:off x="0" y="0"/>
          <a:ext cx="0" cy="0"/>
          <a:chOff x="0" y="0"/>
          <a:chExt cx="0" cy="0"/>
        </a:xfrm>
      </p:grpSpPr>
      <p:sp>
        <p:nvSpPr>
          <p:cNvPr id="3" name="Rechteck 2"/>
          <p:cNvSpPr/>
          <p:nvPr userDrawn="1"/>
        </p:nvSpPr>
        <p:spPr>
          <a:xfrm>
            <a:off x="624416" y="4725145"/>
            <a:ext cx="6648000" cy="1412131"/>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11" name="Rechteck 10"/>
          <p:cNvSpPr/>
          <p:nvPr userDrawn="1"/>
        </p:nvSpPr>
        <p:spPr>
          <a:xfrm>
            <a:off x="7440149" y="4725145"/>
            <a:ext cx="4032184" cy="14121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418" y="1628776"/>
            <a:ext cx="10847916" cy="295235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5" name="Fußzeilenplatzhalter 4"/>
          <p:cNvSpPr>
            <a:spLocks noGrp="1"/>
          </p:cNvSpPr>
          <p:nvPr>
            <p:ph type="ftr" sz="quarter" idx="18"/>
          </p:nvPr>
        </p:nvSpPr>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
        <p:nvSpPr>
          <p:cNvPr id="9" name="Inhaltsplatzhalter 8"/>
          <p:cNvSpPr>
            <a:spLocks noGrp="1"/>
          </p:cNvSpPr>
          <p:nvPr>
            <p:ph sz="quarter" idx="19"/>
          </p:nvPr>
        </p:nvSpPr>
        <p:spPr>
          <a:xfrm>
            <a:off x="624418" y="1628776"/>
            <a:ext cx="10847916" cy="295235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5" name="Inhaltsplatzhalter 14"/>
          <p:cNvSpPr>
            <a:spLocks noGrp="1"/>
          </p:cNvSpPr>
          <p:nvPr>
            <p:ph sz="quarter" idx="20"/>
          </p:nvPr>
        </p:nvSpPr>
        <p:spPr>
          <a:xfrm>
            <a:off x="624418" y="4724401"/>
            <a:ext cx="6648449" cy="1412875"/>
          </a:xfrm>
        </p:spPr>
        <p:txBody>
          <a:bodyPr/>
          <a:lstStyle/>
          <a:p>
            <a:pPr lvl="0"/>
            <a:r>
              <a:rPr lang="de-DE"/>
              <a:t>Textmasterformat bearbeiten</a:t>
            </a:r>
          </a:p>
          <a:p>
            <a:pPr lvl="1"/>
            <a:r>
              <a:rPr lang="de-DE"/>
              <a:t>Zweite Ebene</a:t>
            </a:r>
          </a:p>
          <a:p>
            <a:pPr lvl="2"/>
            <a:r>
              <a:rPr lang="de-DE"/>
              <a:t>Dritte Ebene</a:t>
            </a:r>
          </a:p>
        </p:txBody>
      </p:sp>
      <p:sp>
        <p:nvSpPr>
          <p:cNvPr id="17" name="Inhaltsplatzhalter 16"/>
          <p:cNvSpPr>
            <a:spLocks noGrp="1"/>
          </p:cNvSpPr>
          <p:nvPr>
            <p:ph sz="quarter" idx="21"/>
          </p:nvPr>
        </p:nvSpPr>
        <p:spPr>
          <a:xfrm>
            <a:off x="7440085" y="4724401"/>
            <a:ext cx="4032249" cy="14128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288045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Zwei Inhalte blau/grau">
    <p:spTree>
      <p:nvGrpSpPr>
        <p:cNvPr id="1" name=""/>
        <p:cNvGrpSpPr/>
        <p:nvPr/>
      </p:nvGrpSpPr>
      <p:grpSpPr>
        <a:xfrm>
          <a:off x="0" y="0"/>
          <a:ext cx="0" cy="0"/>
          <a:chOff x="0" y="0"/>
          <a:chExt cx="0" cy="0"/>
        </a:xfrm>
      </p:grpSpPr>
      <p:sp>
        <p:nvSpPr>
          <p:cNvPr id="3" name="Rechteck 2"/>
          <p:cNvSpPr/>
          <p:nvPr userDrawn="1"/>
        </p:nvSpPr>
        <p:spPr>
          <a:xfrm>
            <a:off x="624416" y="4725145"/>
            <a:ext cx="10847917" cy="1412131"/>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418" y="1628776"/>
            <a:ext cx="10847916" cy="295235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5" name="Fußzeilenplatzhalter 4"/>
          <p:cNvSpPr>
            <a:spLocks noGrp="1"/>
          </p:cNvSpPr>
          <p:nvPr>
            <p:ph type="ftr" sz="quarter" idx="18"/>
          </p:nvPr>
        </p:nvSpPr>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
        <p:nvSpPr>
          <p:cNvPr id="9" name="Inhaltsplatzhalter 8"/>
          <p:cNvSpPr>
            <a:spLocks noGrp="1"/>
          </p:cNvSpPr>
          <p:nvPr>
            <p:ph sz="quarter" idx="19"/>
          </p:nvPr>
        </p:nvSpPr>
        <p:spPr>
          <a:xfrm>
            <a:off x="624418" y="1628776"/>
            <a:ext cx="10847916" cy="295235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5" name="Inhaltsplatzhalter 14"/>
          <p:cNvSpPr>
            <a:spLocks noGrp="1"/>
          </p:cNvSpPr>
          <p:nvPr>
            <p:ph sz="quarter" idx="20"/>
          </p:nvPr>
        </p:nvSpPr>
        <p:spPr>
          <a:xfrm>
            <a:off x="624418" y="4724401"/>
            <a:ext cx="10847916" cy="1412875"/>
          </a:xfrm>
        </p:spPr>
        <p:txBody>
          <a:body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983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ünf Inhalte bunt">
    <p:spTree>
      <p:nvGrpSpPr>
        <p:cNvPr id="1" name=""/>
        <p:cNvGrpSpPr/>
        <p:nvPr/>
      </p:nvGrpSpPr>
      <p:grpSpPr>
        <a:xfrm>
          <a:off x="0" y="0"/>
          <a:ext cx="0" cy="0"/>
          <a:chOff x="0" y="0"/>
          <a:chExt cx="0" cy="0"/>
        </a:xfrm>
      </p:grpSpPr>
      <p:sp>
        <p:nvSpPr>
          <p:cNvPr id="3" name="Rechteck 2"/>
          <p:cNvSpPr/>
          <p:nvPr userDrawn="1"/>
        </p:nvSpPr>
        <p:spPr>
          <a:xfrm>
            <a:off x="5688165" y="3934356"/>
            <a:ext cx="2400000" cy="220291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000" y="1628775"/>
            <a:ext cx="4896544" cy="45072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6" name="Inhaltsplatzhalter 5"/>
          <p:cNvSpPr>
            <a:spLocks noGrp="1"/>
          </p:cNvSpPr>
          <p:nvPr>
            <p:ph sz="quarter" idx="12"/>
          </p:nvPr>
        </p:nvSpPr>
        <p:spPr>
          <a:xfrm>
            <a:off x="624000" y="1628774"/>
            <a:ext cx="4896000" cy="4508500"/>
          </a:xfrm>
          <a:noFill/>
        </p:spPr>
        <p:txBody>
          <a:bodyPr lIns="90000" tIns="46800" rIns="90000" bIns="46800">
            <a:no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5" name="Fußzeilenplatzhalter 4"/>
          <p:cNvSpPr>
            <a:spLocks noGrp="1"/>
          </p:cNvSpPr>
          <p:nvPr>
            <p:ph type="ftr" sz="quarter" idx="16"/>
          </p:nvPr>
        </p:nvSpPr>
        <p:spPr>
          <a:xfrm>
            <a:off x="624000" y="6525344"/>
            <a:ext cx="10670400" cy="252000"/>
          </a:xfrm>
        </p:spPr>
        <p:txBody>
          <a:bodyPr/>
          <a:lstStyle/>
          <a:p>
            <a:r>
              <a:rPr lang="de-DE"/>
              <a:t>© 2018 - Unterweisung Plus</a:t>
            </a:r>
            <a:endParaRPr lang="de-DE" dirty="0"/>
          </a:p>
        </p:txBody>
      </p:sp>
      <p:sp>
        <p:nvSpPr>
          <p:cNvPr id="7" name="Titel 6"/>
          <p:cNvSpPr>
            <a:spLocks noGrp="1"/>
          </p:cNvSpPr>
          <p:nvPr>
            <p:ph type="title"/>
          </p:nvPr>
        </p:nvSpPr>
        <p:spPr/>
        <p:txBody>
          <a:bodyPr/>
          <a:lstStyle/>
          <a:p>
            <a:r>
              <a:rPr lang="de-DE"/>
              <a:t>Titelmasterformat durch Klicken bearbeiten</a:t>
            </a:r>
          </a:p>
        </p:txBody>
      </p:sp>
      <p:sp>
        <p:nvSpPr>
          <p:cNvPr id="14" name="Rechteck 13"/>
          <p:cNvSpPr/>
          <p:nvPr userDrawn="1"/>
        </p:nvSpPr>
        <p:spPr>
          <a:xfrm>
            <a:off x="9072331" y="1628775"/>
            <a:ext cx="2399669" cy="2202919"/>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13" name="Rechteck 12"/>
          <p:cNvSpPr/>
          <p:nvPr userDrawn="1"/>
        </p:nvSpPr>
        <p:spPr>
          <a:xfrm>
            <a:off x="5688165" y="1628775"/>
            <a:ext cx="3216000" cy="2202919"/>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17" name="Rechteck 16"/>
          <p:cNvSpPr/>
          <p:nvPr userDrawn="1"/>
        </p:nvSpPr>
        <p:spPr>
          <a:xfrm>
            <a:off x="8256000" y="3934356"/>
            <a:ext cx="3216000" cy="2202919"/>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10" name="Inhaltsplatzhalter 9"/>
          <p:cNvSpPr>
            <a:spLocks noGrp="1"/>
          </p:cNvSpPr>
          <p:nvPr>
            <p:ph sz="quarter" idx="17"/>
          </p:nvPr>
        </p:nvSpPr>
        <p:spPr>
          <a:xfrm>
            <a:off x="5687484" y="1628775"/>
            <a:ext cx="3217333" cy="2203450"/>
          </a:xfrm>
        </p:spPr>
        <p:txBody>
          <a:bodyPr/>
          <a:lstStyle/>
          <a:p>
            <a:pPr lvl="0"/>
            <a:r>
              <a:rPr lang="de-DE"/>
              <a:t>Textmasterformat bearbeiten</a:t>
            </a:r>
          </a:p>
          <a:p>
            <a:pPr lvl="1"/>
            <a:r>
              <a:rPr lang="de-DE"/>
              <a:t>Zweite Ebene</a:t>
            </a:r>
          </a:p>
          <a:p>
            <a:pPr lvl="2"/>
            <a:r>
              <a:rPr lang="de-DE"/>
              <a:t>Dritte Ebene</a:t>
            </a:r>
          </a:p>
        </p:txBody>
      </p:sp>
      <p:sp>
        <p:nvSpPr>
          <p:cNvPr id="18" name="Inhaltsplatzhalter 17"/>
          <p:cNvSpPr>
            <a:spLocks noGrp="1"/>
          </p:cNvSpPr>
          <p:nvPr>
            <p:ph sz="quarter" idx="18"/>
          </p:nvPr>
        </p:nvSpPr>
        <p:spPr>
          <a:xfrm>
            <a:off x="8255000" y="3933826"/>
            <a:ext cx="3217333" cy="2201863"/>
          </a:xfrm>
        </p:spPr>
        <p:txBody>
          <a:bodyPr/>
          <a:lstStyle/>
          <a:p>
            <a:pPr lvl="0"/>
            <a:r>
              <a:rPr lang="de-DE"/>
              <a:t>Textmasterformat bearbeiten</a:t>
            </a:r>
          </a:p>
          <a:p>
            <a:pPr lvl="1"/>
            <a:r>
              <a:rPr lang="de-DE"/>
              <a:t>Zweite Ebene</a:t>
            </a:r>
          </a:p>
          <a:p>
            <a:pPr lvl="2"/>
            <a:r>
              <a:rPr lang="de-DE"/>
              <a:t>Dritte Ebene</a:t>
            </a:r>
          </a:p>
        </p:txBody>
      </p:sp>
      <p:sp>
        <p:nvSpPr>
          <p:cNvPr id="20" name="Inhaltsplatzhalter 19"/>
          <p:cNvSpPr>
            <a:spLocks noGrp="1"/>
          </p:cNvSpPr>
          <p:nvPr>
            <p:ph sz="quarter" idx="19"/>
          </p:nvPr>
        </p:nvSpPr>
        <p:spPr>
          <a:xfrm>
            <a:off x="5687485" y="3933826"/>
            <a:ext cx="2400300" cy="22018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21" name="Inhaltsplatzhalter 19"/>
          <p:cNvSpPr>
            <a:spLocks noGrp="1"/>
          </p:cNvSpPr>
          <p:nvPr>
            <p:ph sz="quarter" idx="20"/>
          </p:nvPr>
        </p:nvSpPr>
        <p:spPr>
          <a:xfrm>
            <a:off x="9071701" y="1628775"/>
            <a:ext cx="2400300" cy="22018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63320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rei Inhalte blau/grau - Variante 2">
    <p:spTree>
      <p:nvGrpSpPr>
        <p:cNvPr id="1" name=""/>
        <p:cNvGrpSpPr/>
        <p:nvPr/>
      </p:nvGrpSpPr>
      <p:grpSpPr>
        <a:xfrm>
          <a:off x="0" y="0"/>
          <a:ext cx="0" cy="0"/>
          <a:chOff x="0" y="0"/>
          <a:chExt cx="0" cy="0"/>
        </a:xfrm>
      </p:grpSpPr>
      <p:sp>
        <p:nvSpPr>
          <p:cNvPr id="8" name="Rechteck 7"/>
          <p:cNvSpPr/>
          <p:nvPr userDrawn="1"/>
        </p:nvSpPr>
        <p:spPr>
          <a:xfrm>
            <a:off x="5690317" y="1628775"/>
            <a:ext cx="5782016" cy="45085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3" name="Rechteck 2"/>
          <p:cNvSpPr/>
          <p:nvPr userDrawn="1"/>
        </p:nvSpPr>
        <p:spPr>
          <a:xfrm>
            <a:off x="624000" y="1628776"/>
            <a:ext cx="4896544" cy="16562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13" name="Rechteck 12"/>
          <p:cNvSpPr/>
          <p:nvPr userDrawn="1"/>
        </p:nvSpPr>
        <p:spPr>
          <a:xfrm>
            <a:off x="624000" y="3429001"/>
            <a:ext cx="4896544" cy="270827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2" name="Rechteck 1"/>
          <p:cNvSpPr/>
          <p:nvPr userDrawn="1"/>
        </p:nvSpPr>
        <p:spPr>
          <a:xfrm>
            <a:off x="624000" y="1628776"/>
            <a:ext cx="4896544" cy="165620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sp>
        <p:nvSpPr>
          <p:cNvPr id="4" name="Foliennummernplatzhalter 3"/>
          <p:cNvSpPr>
            <a:spLocks noGrp="1"/>
          </p:cNvSpPr>
          <p:nvPr>
            <p:ph type="sldNum" sz="quarter" idx="11"/>
          </p:nvPr>
        </p:nvSpPr>
        <p:spPr/>
        <p:txBody>
          <a:bodyPr/>
          <a:lstStyle/>
          <a:p>
            <a:fld id="{9564BF1B-7A00-4FDB-9ACC-13A0BEC11AB6}" type="slidenum">
              <a:rPr lang="de-DE" smtClean="0"/>
              <a:pPr/>
              <a:t>‹Nr.›</a:t>
            </a:fld>
            <a:endParaRPr lang="de-DE" dirty="0"/>
          </a:p>
        </p:txBody>
      </p:sp>
      <p:sp>
        <p:nvSpPr>
          <p:cNvPr id="5" name="Fußzeilenplatzhalter 4"/>
          <p:cNvSpPr>
            <a:spLocks noGrp="1"/>
          </p:cNvSpPr>
          <p:nvPr>
            <p:ph type="ftr" sz="quarter" idx="16"/>
          </p:nvPr>
        </p:nvSpPr>
        <p:spPr>
          <a:xfrm>
            <a:off x="624000" y="6525344"/>
            <a:ext cx="10670400" cy="252000"/>
          </a:xfrm>
        </p:spPr>
        <p:txBody>
          <a:bodyPr/>
          <a:lstStyle/>
          <a:p>
            <a:r>
              <a:rPr lang="de-DE"/>
              <a:t>© 2018 - Unterweisung Plus</a:t>
            </a:r>
            <a:endParaRPr lang="de-DE" dirty="0"/>
          </a:p>
        </p:txBody>
      </p:sp>
      <p:sp>
        <p:nvSpPr>
          <p:cNvPr id="7" name="Titel 6"/>
          <p:cNvSpPr>
            <a:spLocks noGrp="1"/>
          </p:cNvSpPr>
          <p:nvPr>
            <p:ph type="title"/>
          </p:nvPr>
        </p:nvSpPr>
        <p:spPr/>
        <p:txBody>
          <a:bodyPr/>
          <a:lstStyle/>
          <a:p>
            <a:r>
              <a:rPr lang="de-DE"/>
              <a:t>Titelmasterformat durch Klicken bearbeiten</a:t>
            </a:r>
          </a:p>
        </p:txBody>
      </p:sp>
      <p:sp>
        <p:nvSpPr>
          <p:cNvPr id="12" name="Inhaltsplatzhalter 11"/>
          <p:cNvSpPr>
            <a:spLocks noGrp="1"/>
          </p:cNvSpPr>
          <p:nvPr>
            <p:ph sz="quarter" idx="17"/>
          </p:nvPr>
        </p:nvSpPr>
        <p:spPr>
          <a:xfrm>
            <a:off x="624001" y="1629222"/>
            <a:ext cx="4895849" cy="16557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8" name="Inhaltsplatzhalter 17"/>
          <p:cNvSpPr>
            <a:spLocks noGrp="1"/>
          </p:cNvSpPr>
          <p:nvPr>
            <p:ph sz="quarter" idx="18"/>
          </p:nvPr>
        </p:nvSpPr>
        <p:spPr>
          <a:xfrm>
            <a:off x="624418" y="3429001"/>
            <a:ext cx="4895849" cy="27082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20" name="Inhaltsplatzhalter 19"/>
          <p:cNvSpPr>
            <a:spLocks noGrp="1"/>
          </p:cNvSpPr>
          <p:nvPr>
            <p:ph sz="quarter" idx="19"/>
          </p:nvPr>
        </p:nvSpPr>
        <p:spPr>
          <a:xfrm>
            <a:off x="5689600" y="1628775"/>
            <a:ext cx="5782733" cy="4508500"/>
          </a:xfrm>
        </p:spPr>
        <p:txBody>
          <a:bodyPr/>
          <a:lstStyle/>
          <a:p>
            <a:pPr lvl="0"/>
            <a:r>
              <a:rPr lang="de-DE" dirty="0"/>
              <a:t>Textmaster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78285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9564BF1B-7A00-4FDB-9ACC-13A0BEC11AB6}" type="slidenum">
              <a:rPr lang="de-DE" smtClean="0"/>
              <a:pPr/>
              <a:t>‹Nr.›</a:t>
            </a:fld>
            <a:endParaRPr lang="de-DE" dirty="0"/>
          </a:p>
        </p:txBody>
      </p:sp>
      <p:sp>
        <p:nvSpPr>
          <p:cNvPr id="3" name="Fußzeilenplatzhalter 2"/>
          <p:cNvSpPr>
            <a:spLocks noGrp="1"/>
          </p:cNvSpPr>
          <p:nvPr>
            <p:ph type="ftr" sz="quarter" idx="13"/>
          </p:nvPr>
        </p:nvSpPr>
        <p:spPr>
          <a:xfrm>
            <a:off x="624000" y="6525344"/>
            <a:ext cx="10670400" cy="252000"/>
          </a:xfrm>
        </p:spPr>
        <p:txBody>
          <a:bodyPr/>
          <a:lstStyle/>
          <a:p>
            <a:r>
              <a:rPr lang="de-DE"/>
              <a:t>© 2018 - Unterweisung Plus</a:t>
            </a:r>
            <a:endParaRPr lang="de-DE" dirty="0"/>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01285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Agenda-Tabelle"/>
          <p:cNvSpPr>
            <a:spLocks noGrp="1"/>
          </p:cNvSpPr>
          <p:nvPr>
            <p:ph type="tbl" sz="quarter" idx="13"/>
          </p:nvPr>
        </p:nvSpPr>
        <p:spPr>
          <a:xfrm>
            <a:off x="624001" y="1628775"/>
            <a:ext cx="10847916" cy="4508500"/>
          </a:xfrm>
        </p:spPr>
        <p:txBody>
          <a:bodyPr/>
          <a:lstStyle/>
          <a:p>
            <a:r>
              <a:rPr lang="de-DE" dirty="0"/>
              <a:t>Tabelle durch Klicken auf Symbol hinzufügen</a:t>
            </a:r>
          </a:p>
        </p:txBody>
      </p:sp>
      <p:sp>
        <p:nvSpPr>
          <p:cNvPr id="3" name="Fußzeilenplatzhalter 2"/>
          <p:cNvSpPr>
            <a:spLocks noGrp="1"/>
          </p:cNvSpPr>
          <p:nvPr>
            <p:ph type="ftr" sz="quarter" idx="14"/>
          </p:nvPr>
        </p:nvSpPr>
        <p:spPr>
          <a:xfrm>
            <a:off x="624000" y="6525344"/>
            <a:ext cx="10670400" cy="252000"/>
          </a:xfrm>
        </p:spPr>
        <p:txBody>
          <a:bodyPr/>
          <a:lstStyle/>
          <a:p>
            <a:r>
              <a:rPr lang="de-DE"/>
              <a:t>© 2018 - Unterweisung Plus</a:t>
            </a:r>
            <a:endParaRPr lang="de-DE" dirty="0"/>
          </a:p>
        </p:txBody>
      </p:sp>
      <p:sp>
        <p:nvSpPr>
          <p:cNvPr id="6" name="Titel 5"/>
          <p:cNvSpPr>
            <a:spLocks noGrp="1"/>
          </p:cNvSpPr>
          <p:nvPr>
            <p:ph type="title" hasCustomPrompt="1"/>
          </p:nvPr>
        </p:nvSpPr>
        <p:spPr/>
        <p:txBody>
          <a:bodyPr/>
          <a:lstStyle>
            <a:lvl1pPr>
              <a:defRPr cap="all" baseline="0"/>
            </a:lvl1pPr>
          </a:lstStyle>
          <a:p>
            <a:r>
              <a:rPr lang="de-DE"/>
              <a:t>Agenda</a:t>
            </a:r>
          </a:p>
        </p:txBody>
      </p:sp>
    </p:spTree>
    <p:extLst>
      <p:ext uri="{BB962C8B-B14F-4D97-AF65-F5344CB8AC3E}">
        <p14:creationId xmlns:p14="http://schemas.microsoft.com/office/powerpoint/2010/main" val="219894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2" y="1601093"/>
            <a:ext cx="11145837"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14581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3" y="1601093"/>
            <a:ext cx="5497513"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9"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08339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77631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3"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4"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1815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6"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96933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52">
            <a:alphaModFix/>
          </a:blip>
          <a:stretch>
            <a:fillRect/>
          </a:stretch>
        </p:blipFill>
        <p:spPr>
          <a:xfrm>
            <a:off x="5255389"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3"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9" y="6525203"/>
            <a:ext cx="322052"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51"/>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4EA6ABFF-5CB7-86B2-6BB1-68F840487650}"/>
              </a:ext>
            </a:extLst>
          </p:cNvPr>
          <p:cNvPicPr>
            <a:picLocks noChangeAspect="1"/>
          </p:cNvPicPr>
          <p:nvPr userDrawn="1"/>
        </p:nvPicPr>
        <p:blipFill>
          <a:blip r:embed="rId53"/>
          <a:stretch>
            <a:fillRect/>
          </a:stretch>
        </p:blipFill>
        <p:spPr>
          <a:xfrm>
            <a:off x="9809019" y="565601"/>
            <a:ext cx="1978556" cy="562183"/>
          </a:xfrm>
          <a:prstGeom prst="rect">
            <a:avLst/>
          </a:prstGeom>
        </p:spPr>
      </p:pic>
    </p:spTree>
    <p:custDataLst>
      <p:tags r:id="rId50"/>
    </p:custDataLst>
    <p:extLst>
      <p:ext uri="{BB962C8B-B14F-4D97-AF65-F5344CB8AC3E}">
        <p14:creationId xmlns:p14="http://schemas.microsoft.com/office/powerpoint/2010/main" val="394485522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8" r:id="rId23"/>
    <p:sldLayoutId id="2147483712"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672" r:id="rId35"/>
    <p:sldLayoutId id="2147483650" r:id="rId36"/>
    <p:sldLayoutId id="2147483652" r:id="rId37"/>
    <p:sldLayoutId id="2147483653" r:id="rId38"/>
    <p:sldLayoutId id="2147483677" r:id="rId39"/>
    <p:sldLayoutId id="2147483675" r:id="rId40"/>
    <p:sldLayoutId id="2147483674" r:id="rId41"/>
    <p:sldLayoutId id="2147483676" r:id="rId42"/>
    <p:sldLayoutId id="2147483680" r:id="rId43"/>
    <p:sldLayoutId id="2147483683" r:id="rId44"/>
    <p:sldLayoutId id="2147483681" r:id="rId45"/>
    <p:sldLayoutId id="2147483682" r:id="rId46"/>
    <p:sldLayoutId id="2147483654" r:id="rId47"/>
    <p:sldLayoutId id="2147483673"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433" userDrawn="1">
          <p15:clr>
            <a:srgbClr val="F26B43"/>
          </p15:clr>
        </p15:guide>
        <p15:guide id="3" pos="9804" userDrawn="1">
          <p15:clr>
            <a:srgbClr val="F26B43"/>
          </p15:clr>
        </p15:guide>
        <p15:guide id="11" orient="horz" pos="1003" userDrawn="1">
          <p15:clr>
            <a:srgbClr val="F26B43"/>
          </p15:clr>
        </p15:guide>
        <p15:guide id="16" orient="horz" pos="3838" userDrawn="1">
          <p15:clr>
            <a:srgbClr val="F26B43"/>
          </p15:clr>
        </p15:guide>
        <p15:guide id="18" pos="51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jpeg"/></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30.jpeg"/></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33.jpeg"/><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16.png"/><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16.png"/><Relationship Id="rId5" Type="http://schemas.openxmlformats.org/officeDocument/2006/relationships/image" Target="../media/image22.jpeg"/><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4.xml"/><Relationship Id="rId5" Type="http://schemas.openxmlformats.org/officeDocument/2006/relationships/image" Target="../media/image24.png"/><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5C58A5C-5074-4DC9-3354-EEB9ECEC395B}"/>
              </a:ext>
            </a:extLst>
          </p:cNvPr>
          <p:cNvSpPr>
            <a:spLocks noGrp="1"/>
          </p:cNvSpPr>
          <p:nvPr>
            <p:ph type="title"/>
          </p:nvPr>
        </p:nvSpPr>
        <p:spPr/>
        <p:txBody>
          <a:bodyPr/>
          <a:lstStyle/>
          <a:p>
            <a:r>
              <a:rPr lang="de-DE" dirty="0"/>
              <a:t>Sicherer Umgang mit Handwerkzeugen</a:t>
            </a:r>
          </a:p>
        </p:txBody>
      </p:sp>
      <p:sp>
        <p:nvSpPr>
          <p:cNvPr id="4" name="Textplatzhalter 3">
            <a:extLst>
              <a:ext uri="{FF2B5EF4-FFF2-40B4-BE49-F238E27FC236}">
                <a16:creationId xmlns:a16="http://schemas.microsoft.com/office/drawing/2014/main" id="{15A8479D-6C3B-78BE-BEBA-4A1E6F9691EC}"/>
              </a:ext>
            </a:extLst>
          </p:cNvPr>
          <p:cNvSpPr>
            <a:spLocks noGrp="1"/>
          </p:cNvSpPr>
          <p:nvPr>
            <p:ph type="body" sz="quarter" idx="24"/>
          </p:nvPr>
        </p:nvSpPr>
        <p:spPr/>
        <p:txBody>
          <a:bodyPr/>
          <a:lstStyle/>
          <a:p>
            <a:endParaRPr lang="de-DE"/>
          </a:p>
        </p:txBody>
      </p:sp>
      <p:pic>
        <p:nvPicPr>
          <p:cNvPr id="5" name="Grafik 4">
            <a:extLst>
              <a:ext uri="{FF2B5EF4-FFF2-40B4-BE49-F238E27FC236}">
                <a16:creationId xmlns:a16="http://schemas.microsoft.com/office/drawing/2014/main" id="{4902B1C4-2709-00F5-B11B-D32E24328C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70919" y="2868320"/>
            <a:ext cx="3063654" cy="2046521"/>
          </a:xfrm>
          <a:prstGeom prst="rect">
            <a:avLst/>
          </a:prstGeom>
        </p:spPr>
      </p:pic>
      <p:pic>
        <p:nvPicPr>
          <p:cNvPr id="6" name="Grafik 5">
            <a:extLst>
              <a:ext uri="{FF2B5EF4-FFF2-40B4-BE49-F238E27FC236}">
                <a16:creationId xmlns:a16="http://schemas.microsoft.com/office/drawing/2014/main" id="{7F9A3C03-297E-AA30-C011-627200C82E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0176" y="1562976"/>
            <a:ext cx="2793449" cy="1866024"/>
          </a:xfrm>
          <a:prstGeom prst="rect">
            <a:avLst/>
          </a:prstGeom>
        </p:spPr>
      </p:pic>
      <p:pic>
        <p:nvPicPr>
          <p:cNvPr id="7" name="Grafik 6">
            <a:extLst>
              <a:ext uri="{FF2B5EF4-FFF2-40B4-BE49-F238E27FC236}">
                <a16:creationId xmlns:a16="http://schemas.microsoft.com/office/drawing/2014/main" id="{D8764066-113D-9E51-FEB5-8FFE5F0867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57095" y="4595030"/>
            <a:ext cx="2544279" cy="1699578"/>
          </a:xfrm>
          <a:prstGeom prst="rect">
            <a:avLst/>
          </a:prstGeom>
        </p:spPr>
      </p:pic>
      <p:pic>
        <p:nvPicPr>
          <p:cNvPr id="8" name="Grafik 7">
            <a:extLst>
              <a:ext uri="{FF2B5EF4-FFF2-40B4-BE49-F238E27FC236}">
                <a16:creationId xmlns:a16="http://schemas.microsoft.com/office/drawing/2014/main" id="{A3581558-E278-07EA-0973-34EC947F2A81}"/>
              </a:ext>
            </a:extLst>
          </p:cNvPr>
          <p:cNvPicPr>
            <a:picLocks noChangeAspect="1"/>
          </p:cNvPicPr>
          <p:nvPr/>
        </p:nvPicPr>
        <p:blipFill>
          <a:blip r:embed="rId5" cstate="print"/>
          <a:stretch>
            <a:fillRect/>
          </a:stretch>
        </p:blipFill>
        <p:spPr>
          <a:xfrm>
            <a:off x="8904312" y="6077877"/>
            <a:ext cx="609653" cy="213378"/>
          </a:xfrm>
          <a:prstGeom prst="rect">
            <a:avLst/>
          </a:prstGeom>
        </p:spPr>
      </p:pic>
    </p:spTree>
    <p:extLst>
      <p:ext uri="{BB962C8B-B14F-4D97-AF65-F5344CB8AC3E}">
        <p14:creationId xmlns:p14="http://schemas.microsoft.com/office/powerpoint/2010/main" val="38883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01ADCAFD-4774-487A-A97E-8998205B15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5093903">
            <a:off x="1333650" y="2714956"/>
            <a:ext cx="4699915" cy="2237160"/>
          </a:xfrm>
          <a:prstGeom prst="rect">
            <a:avLst/>
          </a:prstGeom>
        </p:spPr>
      </p:pic>
      <p:sp>
        <p:nvSpPr>
          <p:cNvPr id="5" name="Titel 4"/>
          <p:cNvSpPr>
            <a:spLocks noGrp="1"/>
          </p:cNvSpPr>
          <p:nvPr>
            <p:ph type="title"/>
          </p:nvPr>
        </p:nvSpPr>
        <p:spPr/>
        <p:txBody>
          <a:bodyPr/>
          <a:lstStyle/>
          <a:p>
            <a:br>
              <a:rPr lang="de-DE" sz="3200" dirty="0"/>
            </a:br>
            <a:r>
              <a:rPr lang="de-DE" dirty="0"/>
              <a:t>Scheren</a:t>
            </a:r>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dirty="0"/>
          </a:p>
        </p:txBody>
      </p:sp>
      <p:sp>
        <p:nvSpPr>
          <p:cNvPr id="11" name="Inhaltsplatzhalter 10">
            <a:extLst>
              <a:ext uri="{FF2B5EF4-FFF2-40B4-BE49-F238E27FC236}">
                <a16:creationId xmlns:a16="http://schemas.microsoft.com/office/drawing/2014/main" id="{305ACD73-F2D3-7D90-670B-5B0A171B1377}"/>
              </a:ext>
            </a:extLst>
          </p:cNvPr>
          <p:cNvSpPr>
            <a:spLocks noGrp="1"/>
          </p:cNvSpPr>
          <p:nvPr>
            <p:ph sz="quarter" idx="22"/>
          </p:nvPr>
        </p:nvSpPr>
        <p:spPr/>
        <p:txBody>
          <a:bodyPr/>
          <a:lstStyle/>
          <a:p>
            <a:pPr marL="285750" indent="-285750">
              <a:spcAft>
                <a:spcPts val="600"/>
              </a:spcAft>
              <a:buClr>
                <a:schemeClr val="tx2"/>
              </a:buClr>
              <a:buFont typeface="Wingdings" panose="05000000000000000000" pitchFamily="2" charset="2"/>
              <a:buChar char="§"/>
              <a:tabLst>
                <a:tab pos="180975" algn="l"/>
              </a:tabLst>
              <a:defRPr/>
            </a:pPr>
            <a:r>
              <a:rPr lang="de-DE" altLang="de-DE" dirty="0">
                <a:latin typeface="Calibri" charset="0"/>
                <a:ea typeface="Calibri" charset="0"/>
                <a:cs typeface="Calibri" charset="0"/>
              </a:rPr>
              <a:t>Ein spitzes Arbeitsmittel mit scharfkantiger Schneide – Verletzungsgefahr!</a:t>
            </a:r>
          </a:p>
          <a:p>
            <a:pPr marL="285750" indent="-285750">
              <a:spcAft>
                <a:spcPts val="600"/>
              </a:spcAft>
              <a:buClr>
                <a:schemeClr val="tx2"/>
              </a:buClr>
              <a:buFont typeface="Wingdings" panose="05000000000000000000" pitchFamily="2" charset="2"/>
              <a:buChar char="§"/>
              <a:tabLst>
                <a:tab pos="180975" algn="l"/>
              </a:tabLst>
              <a:defRPr/>
            </a:pPr>
            <a:r>
              <a:rPr lang="de-DE" altLang="de-DE" dirty="0">
                <a:latin typeface="Calibri" charset="0"/>
                <a:ea typeface="Calibri" charset="0"/>
                <a:cs typeface="Calibri" charset="0"/>
              </a:rPr>
              <a:t>Dürfen nicht ohne Schutz in Taschen des Arbeitsanzugs getragen werden!</a:t>
            </a:r>
          </a:p>
          <a:p>
            <a:pPr marL="285750" indent="-285750">
              <a:spcAft>
                <a:spcPts val="600"/>
              </a:spcAft>
              <a:buClr>
                <a:schemeClr val="tx2"/>
              </a:buClr>
              <a:buFont typeface="Wingdings" panose="05000000000000000000" pitchFamily="2" charset="2"/>
              <a:buChar char="§"/>
              <a:tabLst>
                <a:tab pos="180975" algn="l"/>
              </a:tabLst>
              <a:defRPr/>
            </a:pPr>
            <a:r>
              <a:rPr lang="de-DE" altLang="de-DE" dirty="0">
                <a:latin typeface="Calibri" charset="0"/>
                <a:ea typeface="Calibri" charset="0"/>
                <a:cs typeface="Calibri" charset="0"/>
              </a:rPr>
              <a:t>Erfordern konzentriertes Arbeiten.</a:t>
            </a:r>
          </a:p>
          <a:p>
            <a:pPr marL="285750" indent="-285750">
              <a:spcAft>
                <a:spcPts val="600"/>
              </a:spcAft>
              <a:buClr>
                <a:schemeClr val="tx2"/>
              </a:buClr>
              <a:buFont typeface="Wingdings" panose="05000000000000000000" pitchFamily="2" charset="2"/>
              <a:buChar char="§"/>
              <a:tabLst>
                <a:tab pos="180975" algn="l"/>
              </a:tabLst>
              <a:defRPr/>
            </a:pPr>
            <a:r>
              <a:rPr lang="de-DE" altLang="de-DE" dirty="0">
                <a:latin typeface="Calibri" charset="0"/>
                <a:ea typeface="Calibri" charset="0"/>
                <a:cs typeface="Calibri" charset="0"/>
              </a:rPr>
              <a:t>Nickelfreie Scheren verwenden (zur Vermeidung allergischer Reaktionen).</a:t>
            </a:r>
          </a:p>
          <a:p>
            <a:pPr marL="285750" indent="-285750">
              <a:spcAft>
                <a:spcPts val="600"/>
              </a:spcAft>
              <a:buClr>
                <a:schemeClr val="tx2"/>
              </a:buClr>
              <a:buFont typeface="Wingdings" panose="05000000000000000000" pitchFamily="2" charset="2"/>
              <a:buChar char="§"/>
              <a:tabLst>
                <a:tab pos="180975" algn="l"/>
              </a:tabLst>
              <a:defRPr/>
            </a:pPr>
            <a:r>
              <a:rPr lang="de-DE" altLang="de-DE" b="1" dirty="0">
                <a:latin typeface="Calibri" charset="0"/>
                <a:ea typeface="Calibri" charset="0"/>
                <a:cs typeface="Calibri" charset="0"/>
              </a:rPr>
              <a:t>Wenn notwendig: Scheren sicher (mit der Spitze nach hinten) übergeben, auf keinen Fall werfen!</a:t>
            </a:r>
          </a:p>
          <a:p>
            <a:pPr marL="285750" indent="-285750">
              <a:spcAft>
                <a:spcPts val="600"/>
              </a:spcAft>
              <a:buClr>
                <a:schemeClr val="tx2"/>
              </a:buClr>
              <a:buFont typeface="Wingdings" panose="05000000000000000000" pitchFamily="2" charset="2"/>
              <a:buChar char="§"/>
              <a:tabLst>
                <a:tab pos="180975" algn="l"/>
              </a:tabLst>
              <a:defRPr/>
            </a:pPr>
            <a:r>
              <a:rPr lang="de-DE" altLang="de-DE" b="1" dirty="0">
                <a:latin typeface="Calibri" charset="0"/>
                <a:ea typeface="Calibri" charset="0"/>
                <a:cs typeface="Calibri" charset="0"/>
              </a:rPr>
              <a:t>Ein Übergeben des Arbeitsmittels darf nur mit der stumpfen Seite nach vorn erfolgen!</a:t>
            </a:r>
          </a:p>
          <a:p>
            <a:pPr>
              <a:spcAft>
                <a:spcPts val="600"/>
              </a:spcAft>
              <a:tabLst>
                <a:tab pos="180975" algn="l"/>
              </a:tabLst>
              <a:defRPr/>
            </a:pPr>
            <a:endParaRPr lang="de-DE" altLang="de-DE" dirty="0">
              <a:latin typeface="Calibri" charset="0"/>
              <a:ea typeface="Calibri" charset="0"/>
              <a:cs typeface="Calibri" charset="0"/>
            </a:endParaRPr>
          </a:p>
          <a:p>
            <a:endParaRPr lang="de-DE" dirty="0"/>
          </a:p>
        </p:txBody>
      </p:sp>
      <p:sp>
        <p:nvSpPr>
          <p:cNvPr id="9" name="Rechteck 8">
            <a:extLst>
              <a:ext uri="{FF2B5EF4-FFF2-40B4-BE49-F238E27FC236}">
                <a16:creationId xmlns:a16="http://schemas.microsoft.com/office/drawing/2014/main" id="{6FA1D6C2-ADC9-4CCC-8869-48BF4477E36C}"/>
              </a:ext>
            </a:extLst>
          </p:cNvPr>
          <p:cNvSpPr/>
          <p:nvPr/>
        </p:nvSpPr>
        <p:spPr>
          <a:xfrm>
            <a:off x="4727848" y="5921856"/>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1503885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a:xfrm>
            <a:off x="552131" y="1406095"/>
            <a:ext cx="6191941" cy="4495434"/>
          </a:xfrm>
        </p:spPr>
        <p:txBody>
          <a:bodyPr/>
          <a:lstStyle/>
          <a:p>
            <a:pPr>
              <a:spcBef>
                <a:spcPts val="0"/>
              </a:spcBef>
              <a:buNone/>
              <a:tabLst>
                <a:tab pos="180975" algn="l"/>
              </a:tabLst>
              <a:defRPr/>
            </a:pPr>
            <a:r>
              <a:rPr lang="de-DE" altLang="de-DE" b="1" dirty="0">
                <a:latin typeface="Calibri" charset="0"/>
                <a:ea typeface="Calibri" charset="0"/>
                <a:cs typeface="Calibri" charset="0"/>
              </a:rPr>
              <a:t>Stets beachten</a:t>
            </a:r>
            <a:r>
              <a:rPr lang="de-DE" altLang="de-DE" dirty="0">
                <a:latin typeface="Calibri" charset="0"/>
                <a:ea typeface="Calibri" charset="0"/>
                <a:cs typeface="Calibri" charset="0"/>
              </a:rPr>
              <a:t>: Konzentriert arbeiten, Abrutschen vermeiden.</a:t>
            </a:r>
          </a:p>
          <a:p>
            <a:pPr marL="171450" indent="-171450">
              <a:spcBef>
                <a:spcPts val="0"/>
              </a:spcBef>
              <a:buFont typeface="Wingdings" panose="05000000000000000000" pitchFamily="2" charset="2"/>
              <a:buChar char="§"/>
              <a:tabLst>
                <a:tab pos="180975" algn="l"/>
              </a:tabLst>
              <a:defRPr/>
            </a:pPr>
            <a:endParaRPr lang="de-DE" altLang="de-DE" sz="800" dirty="0">
              <a:latin typeface="Calibri" charset="0"/>
              <a:ea typeface="Calibri" charset="0"/>
              <a:cs typeface="Calibri" charset="0"/>
            </a:endParaRPr>
          </a:p>
          <a:p>
            <a:pPr marL="285750" indent="-285750">
              <a:spcBef>
                <a:spcPts val="0"/>
              </a:spcBef>
              <a:buFont typeface="Wingdings" panose="05000000000000000000" pitchFamily="2" charset="2"/>
              <a:buChar char="§"/>
              <a:tabLst>
                <a:tab pos="180975" algn="l"/>
              </a:tabLst>
              <a:defRPr/>
            </a:pPr>
            <a:r>
              <a:rPr lang="de-DE" altLang="de-DE" dirty="0">
                <a:latin typeface="Calibri" charset="0"/>
                <a:ea typeface="Calibri" charset="0"/>
                <a:cs typeface="Calibri" charset="0"/>
              </a:rPr>
              <a:t>Die Klinge immer nur bis zur nächsten sichtbaren Bruchkante herausschieben.</a:t>
            </a:r>
          </a:p>
          <a:p>
            <a:pPr marL="171450" indent="-171450">
              <a:spcBef>
                <a:spcPts val="0"/>
              </a:spcBef>
              <a:buFont typeface="Wingdings" panose="05000000000000000000" pitchFamily="2" charset="2"/>
              <a:buChar char="§"/>
              <a:tabLst>
                <a:tab pos="180975" algn="l"/>
              </a:tabLst>
              <a:defRPr/>
            </a:pPr>
            <a:endParaRPr lang="de-DE" altLang="de-DE" sz="1000" dirty="0">
              <a:latin typeface="Calibri" charset="0"/>
              <a:ea typeface="Calibri" charset="0"/>
              <a:cs typeface="Calibri" charset="0"/>
            </a:endParaRPr>
          </a:p>
          <a:p>
            <a:pPr marL="285750" indent="-285750">
              <a:spcBef>
                <a:spcPts val="0"/>
              </a:spcBef>
              <a:buFont typeface="Wingdings" panose="05000000000000000000" pitchFamily="2" charset="2"/>
              <a:buChar char="§"/>
              <a:tabLst>
                <a:tab pos="180975" algn="l"/>
              </a:tabLst>
              <a:defRPr/>
            </a:pPr>
            <a:r>
              <a:rPr lang="de-DE" altLang="de-DE" dirty="0">
                <a:latin typeface="Calibri" charset="0"/>
                <a:ea typeface="Calibri" charset="0"/>
                <a:cs typeface="Calibri" charset="0"/>
              </a:rPr>
              <a:t>Zum Abbrechen der Klinge an der Sollbruchstelle möglichst eine Kombi-Zange verwenden und Körper vor wegspringender Klinge schützen.</a:t>
            </a:r>
          </a:p>
          <a:p>
            <a:pPr marL="171450" indent="-171450">
              <a:spcBef>
                <a:spcPts val="0"/>
              </a:spcBef>
              <a:buFont typeface="Wingdings" panose="05000000000000000000" pitchFamily="2" charset="2"/>
              <a:buChar char="§"/>
              <a:tabLst>
                <a:tab pos="180975" algn="l"/>
              </a:tabLst>
              <a:defRPr/>
            </a:pPr>
            <a:endParaRPr lang="de-DE" altLang="de-DE" sz="1000" dirty="0">
              <a:latin typeface="Calibri" charset="0"/>
              <a:ea typeface="Calibri" charset="0"/>
              <a:cs typeface="Calibri" charset="0"/>
            </a:endParaRPr>
          </a:p>
          <a:p>
            <a:pPr marL="285750" indent="-285750">
              <a:spcBef>
                <a:spcPts val="0"/>
              </a:spcBef>
              <a:buFont typeface="Wingdings" panose="05000000000000000000" pitchFamily="2" charset="2"/>
              <a:buChar char="§"/>
              <a:tabLst>
                <a:tab pos="180975" algn="l"/>
              </a:tabLst>
              <a:defRPr/>
            </a:pPr>
            <a:r>
              <a:rPr lang="de-DE" altLang="de-DE" dirty="0">
                <a:latin typeface="Calibri" charset="0"/>
                <a:ea typeface="Calibri" charset="0"/>
                <a:cs typeface="Calibri" charset="0"/>
              </a:rPr>
              <a:t>Die Biegung erfolgt in entgegengesetzte Richtung zur Bruchlinie und muss nach unten gerichtet werden. </a:t>
            </a:r>
          </a:p>
          <a:p>
            <a:pPr marL="171450" indent="-171450">
              <a:spcBef>
                <a:spcPts val="0"/>
              </a:spcBef>
              <a:buFont typeface="Wingdings" panose="05000000000000000000" pitchFamily="2" charset="2"/>
              <a:buChar char="§"/>
              <a:tabLst>
                <a:tab pos="180975" algn="l"/>
              </a:tabLst>
              <a:defRPr/>
            </a:pPr>
            <a:endParaRPr lang="de-DE" altLang="de-DE" sz="1000" dirty="0">
              <a:latin typeface="Calibri" charset="0"/>
              <a:ea typeface="Calibri" charset="0"/>
              <a:cs typeface="Calibri" charset="0"/>
            </a:endParaRPr>
          </a:p>
          <a:p>
            <a:pPr marL="285750" indent="-285750">
              <a:spcBef>
                <a:spcPts val="0"/>
              </a:spcBef>
              <a:buFont typeface="Wingdings" panose="05000000000000000000" pitchFamily="2" charset="2"/>
              <a:buChar char="§"/>
              <a:tabLst>
                <a:tab pos="180975" algn="l"/>
              </a:tabLst>
              <a:defRPr/>
            </a:pPr>
            <a:r>
              <a:rPr lang="de-DE" altLang="de-DE" dirty="0">
                <a:latin typeface="Calibri" charset="0"/>
                <a:ea typeface="Calibri" charset="0"/>
                <a:cs typeface="Calibri" charset="0"/>
              </a:rPr>
              <a:t>Bei Bedarf Schnittschutz verwenden.</a:t>
            </a:r>
          </a:p>
          <a:p>
            <a:pPr marL="171450" indent="-171450">
              <a:spcBef>
                <a:spcPts val="0"/>
              </a:spcBef>
              <a:buFont typeface="Wingdings" panose="05000000000000000000" pitchFamily="2" charset="2"/>
              <a:buChar char="§"/>
              <a:tabLst>
                <a:tab pos="180975" algn="l"/>
              </a:tabLst>
              <a:defRPr/>
            </a:pPr>
            <a:endParaRPr lang="de-DE" altLang="de-DE" sz="1000" dirty="0">
              <a:latin typeface="Calibri" charset="0"/>
              <a:ea typeface="Calibri" charset="0"/>
              <a:cs typeface="Calibri" charset="0"/>
            </a:endParaRPr>
          </a:p>
          <a:p>
            <a:pPr marL="285750" indent="-285750">
              <a:spcBef>
                <a:spcPts val="0"/>
              </a:spcBef>
              <a:buFont typeface="Wingdings" panose="05000000000000000000" pitchFamily="2" charset="2"/>
              <a:buChar char="§"/>
              <a:tabLst>
                <a:tab pos="180975" algn="l"/>
              </a:tabLst>
              <a:defRPr/>
            </a:pPr>
            <a:r>
              <a:rPr lang="de-DE" altLang="de-DE" dirty="0">
                <a:latin typeface="Calibri" charset="0"/>
                <a:ea typeface="Calibri" charset="0"/>
                <a:cs typeface="Calibri" charset="0"/>
              </a:rPr>
              <a:t>Beim Beenden der Arbeit: Zurücksetzen und Arretieren der Klinge nicht vergessen!</a:t>
            </a:r>
          </a:p>
          <a:p>
            <a:pPr>
              <a:tabLst>
                <a:tab pos="180975" algn="l"/>
              </a:tabLst>
              <a:defRPr/>
            </a:pPr>
            <a:endParaRPr lang="de-DE" altLang="de-DE" dirty="0">
              <a:latin typeface="Calibri" charset="0"/>
              <a:ea typeface="Calibri" charset="0"/>
              <a:cs typeface="Calibri" charset="0"/>
            </a:endParaRPr>
          </a:p>
        </p:txBody>
      </p:sp>
      <p:sp>
        <p:nvSpPr>
          <p:cNvPr id="3" name="Foliennummernplatzhalter 2"/>
          <p:cNvSpPr>
            <a:spLocks noGrp="1"/>
          </p:cNvSpPr>
          <p:nvPr>
            <p:ph type="sldNum" sz="quarter" idx="20"/>
          </p:nvPr>
        </p:nvSpPr>
        <p:spPr/>
        <p:txBody>
          <a:bodyPr/>
          <a:lstStyle/>
          <a:p>
            <a:fld id="{9564BF1B-7A00-4FDB-9ACC-13A0BEC11AB6}" type="slidenum">
              <a:rPr lang="de-DE" smtClean="0"/>
              <a:pPr/>
              <a:t>11</a:t>
            </a:fld>
            <a:endParaRPr lang="de-DE" dirty="0"/>
          </a:p>
        </p:txBody>
      </p:sp>
      <p:sp>
        <p:nvSpPr>
          <p:cNvPr id="5" name="Titel 4"/>
          <p:cNvSpPr>
            <a:spLocks noGrp="1"/>
          </p:cNvSpPr>
          <p:nvPr>
            <p:ph type="title"/>
          </p:nvPr>
        </p:nvSpPr>
        <p:spPr/>
        <p:txBody>
          <a:bodyPr/>
          <a:lstStyle/>
          <a:p>
            <a:r>
              <a:rPr lang="de-DE" dirty="0"/>
              <a:t>Messer / Cutter</a:t>
            </a:r>
          </a:p>
        </p:txBody>
      </p:sp>
      <p:pic>
        <p:nvPicPr>
          <p:cNvPr id="8" name="Grafik 7">
            <a:extLst>
              <a:ext uri="{FF2B5EF4-FFF2-40B4-BE49-F238E27FC236}">
                <a16:creationId xmlns:a16="http://schemas.microsoft.com/office/drawing/2014/main" id="{8E4CB308-61CD-4A29-A0DF-BDB5D55558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6871336" y="2725937"/>
            <a:ext cx="3984431" cy="2366752"/>
          </a:xfrm>
          <a:prstGeom prst="rect">
            <a:avLst/>
          </a:prstGeom>
        </p:spPr>
      </p:pic>
      <p:sp>
        <p:nvSpPr>
          <p:cNvPr id="7" name="Rechteck 6">
            <a:extLst>
              <a:ext uri="{FF2B5EF4-FFF2-40B4-BE49-F238E27FC236}">
                <a16:creationId xmlns:a16="http://schemas.microsoft.com/office/drawing/2014/main" id="{DB66198C-B466-4B8E-BFF9-765E1628A38D}"/>
              </a:ext>
            </a:extLst>
          </p:cNvPr>
          <p:cNvSpPr/>
          <p:nvPr/>
        </p:nvSpPr>
        <p:spPr>
          <a:xfrm>
            <a:off x="9659612" y="6115866"/>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71934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972C45C-D6AF-49EE-9996-A8BB776BCF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1504" y="1772816"/>
            <a:ext cx="4215116" cy="3793604"/>
          </a:xfrm>
          <a:prstGeom prst="rect">
            <a:avLst/>
          </a:prstGeom>
        </p:spPr>
      </p:pic>
      <p:sp>
        <p:nvSpPr>
          <p:cNvPr id="5" name="Titel 4"/>
          <p:cNvSpPr>
            <a:spLocks noGrp="1"/>
          </p:cNvSpPr>
          <p:nvPr>
            <p:ph type="title"/>
          </p:nvPr>
        </p:nvSpPr>
        <p:spPr/>
        <p:txBody>
          <a:bodyPr/>
          <a:lstStyle/>
          <a:p>
            <a:r>
              <a:rPr lang="de-DE" dirty="0"/>
              <a:t>Akku-Bohrer/-Schrauber</a:t>
            </a:r>
          </a:p>
        </p:txBody>
      </p:sp>
      <p:sp>
        <p:nvSpPr>
          <p:cNvPr id="3" name="Foliennummernplatzhalter 2"/>
          <p:cNvSpPr>
            <a:spLocks noGrp="1"/>
          </p:cNvSpPr>
          <p:nvPr>
            <p:ph type="sldNum" sz="quarter" idx="21"/>
          </p:nvPr>
        </p:nvSpPr>
        <p:spPr/>
        <p:txBody>
          <a:bodyPr/>
          <a:lstStyle/>
          <a:p>
            <a:fld id="{9564BF1B-7A00-4FDB-9ACC-13A0BEC11AB6}" type="slidenum">
              <a:rPr lang="de-DE" smtClean="0"/>
              <a:pPr/>
              <a:t>12</a:t>
            </a:fld>
            <a:endParaRPr lang="de-DE" dirty="0"/>
          </a:p>
        </p:txBody>
      </p:sp>
      <p:sp>
        <p:nvSpPr>
          <p:cNvPr id="9" name="Inhaltsplatzhalter 8">
            <a:extLst>
              <a:ext uri="{FF2B5EF4-FFF2-40B4-BE49-F238E27FC236}">
                <a16:creationId xmlns:a16="http://schemas.microsoft.com/office/drawing/2014/main" id="{A9AF1C30-38B7-FE2E-15D1-8C23AD850891}"/>
              </a:ext>
            </a:extLst>
          </p:cNvPr>
          <p:cNvSpPr>
            <a:spLocks noGrp="1"/>
          </p:cNvSpPr>
          <p:nvPr>
            <p:ph sz="quarter" idx="22"/>
          </p:nvPr>
        </p:nvSpPr>
        <p:spPr/>
        <p:txBody>
          <a:bodyPr/>
          <a:lstStyle/>
          <a:p>
            <a:pPr>
              <a:spcAft>
                <a:spcPts val="600"/>
              </a:spcAft>
              <a:tabLst>
                <a:tab pos="180975" algn="l"/>
              </a:tabLst>
              <a:defRPr/>
            </a:pPr>
            <a:r>
              <a:rPr lang="de-DE" altLang="de-DE" dirty="0">
                <a:latin typeface="Calibri" charset="0"/>
                <a:ea typeface="Calibri" charset="0"/>
                <a:cs typeface="Calibri" charset="0"/>
              </a:rPr>
              <a:t>Vor Arbeitsbeginn muss eine Sicht- und Funktionskontrolle durchgeführt werden. </a:t>
            </a:r>
          </a:p>
          <a:p>
            <a:pPr>
              <a:spcAft>
                <a:spcPts val="600"/>
              </a:spcAft>
              <a:tabLst>
                <a:tab pos="180975" algn="l"/>
              </a:tabLst>
              <a:defRPr/>
            </a:pPr>
            <a:r>
              <a:rPr lang="de-DE" altLang="de-DE" dirty="0">
                <a:latin typeface="Calibri" charset="0"/>
                <a:ea typeface="Calibri" charset="0"/>
                <a:cs typeface="Calibri" charset="0"/>
              </a:rPr>
              <a:t>Geeignete Arbeitskleidung, bei Bedarf Schutzausrüstung (Augenschutz, Atemschutz) tragen.</a:t>
            </a:r>
          </a:p>
          <a:p>
            <a:pPr>
              <a:spcAft>
                <a:spcPts val="600"/>
              </a:spcAft>
              <a:tabLst>
                <a:tab pos="180975" algn="l"/>
              </a:tabLst>
              <a:defRPr/>
            </a:pPr>
            <a:r>
              <a:rPr lang="de-DE" altLang="de-DE" dirty="0">
                <a:latin typeface="Calibri" charset="0"/>
                <a:ea typeface="Calibri" charset="0"/>
                <a:cs typeface="Calibri" charset="0"/>
              </a:rPr>
              <a:t>Unbeabsichtigten Anlauf des Geräts vermeiden. </a:t>
            </a:r>
          </a:p>
          <a:p>
            <a:pPr>
              <a:spcAft>
                <a:spcPts val="600"/>
              </a:spcAft>
              <a:tabLst>
                <a:tab pos="180975" algn="l"/>
              </a:tabLst>
              <a:defRPr/>
            </a:pPr>
            <a:r>
              <a:rPr lang="de-DE" altLang="de-DE" dirty="0">
                <a:latin typeface="Calibri" charset="0"/>
                <a:ea typeface="Calibri" charset="0"/>
                <a:cs typeface="Calibri" charset="0"/>
              </a:rPr>
              <a:t>Vorsicht vor verdeckt liegenden Leitungen (Installationszonen). </a:t>
            </a:r>
          </a:p>
          <a:p>
            <a:pPr>
              <a:spcAft>
                <a:spcPts val="600"/>
              </a:spcAft>
              <a:tabLst>
                <a:tab pos="180975" algn="l"/>
              </a:tabLst>
              <a:defRPr/>
            </a:pPr>
            <a:r>
              <a:rPr lang="de-DE" altLang="de-DE" dirty="0">
                <a:latin typeface="Calibri" charset="0"/>
                <a:ea typeface="Calibri" charset="0"/>
                <a:cs typeface="Calibri" charset="0"/>
              </a:rPr>
              <a:t>Das Gerät darf nicht mit verstopften </a:t>
            </a:r>
            <a:br>
              <a:rPr lang="de-DE" altLang="de-DE" dirty="0">
                <a:latin typeface="Calibri" charset="0"/>
                <a:ea typeface="Calibri" charset="0"/>
                <a:cs typeface="Calibri" charset="0"/>
              </a:rPr>
            </a:br>
            <a:r>
              <a:rPr lang="de-DE" altLang="de-DE" dirty="0">
                <a:latin typeface="Calibri" charset="0"/>
                <a:ea typeface="Calibri" charset="0"/>
                <a:cs typeface="Calibri" charset="0"/>
              </a:rPr>
              <a:t>Lüftungsschlitzen betrieben werden!</a:t>
            </a:r>
          </a:p>
          <a:p>
            <a:endParaRPr lang="de-DE" dirty="0"/>
          </a:p>
        </p:txBody>
      </p:sp>
      <p:sp>
        <p:nvSpPr>
          <p:cNvPr id="7" name="Rechteck 6">
            <a:extLst>
              <a:ext uri="{FF2B5EF4-FFF2-40B4-BE49-F238E27FC236}">
                <a16:creationId xmlns:a16="http://schemas.microsoft.com/office/drawing/2014/main" id="{44CD3833-B6AF-4E8B-BA12-9897E52CA96D}"/>
              </a:ext>
            </a:extLst>
          </p:cNvPr>
          <p:cNvSpPr/>
          <p:nvPr/>
        </p:nvSpPr>
        <p:spPr>
          <a:xfrm>
            <a:off x="3575720" y="5229200"/>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112903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Das Sägeblatt muss zu dem Material des Werkstücks passen.</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Beim Sägen auf größtmöglichen Schnittbereich achten.</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Beim Sägen keinen großen Druck auf das Werkstück ausüben und die Bewegung gleichmäßig ausführen.</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Gegen Ende des Schnitts soll der Druck </a:t>
            </a:r>
            <a:br>
              <a:rPr lang="de-DE" altLang="de-DE" dirty="0">
                <a:latin typeface="Calibri" charset="0"/>
                <a:ea typeface="Calibri" charset="0"/>
                <a:cs typeface="Calibri" charset="0"/>
              </a:rPr>
            </a:br>
            <a:r>
              <a:rPr lang="de-DE" altLang="de-DE" dirty="0">
                <a:latin typeface="Calibri" charset="0"/>
                <a:ea typeface="Calibri" charset="0"/>
                <a:cs typeface="Calibri" charset="0"/>
              </a:rPr>
              <a:t>auf die Säge reduziert werden.</a:t>
            </a:r>
          </a:p>
          <a:p>
            <a:pPr>
              <a:tabLst>
                <a:tab pos="180975" algn="l"/>
              </a:tabLst>
              <a:defRPr/>
            </a:pPr>
            <a:endParaRPr lang="de-DE" altLang="de-DE" dirty="0">
              <a:latin typeface="Calibri" charset="0"/>
              <a:ea typeface="Calibri" charset="0"/>
              <a:cs typeface="Calibri" charset="0"/>
            </a:endParaRPr>
          </a:p>
        </p:txBody>
      </p:sp>
      <p:sp>
        <p:nvSpPr>
          <p:cNvPr id="3" name="Foliennummernplatzhalter 2"/>
          <p:cNvSpPr>
            <a:spLocks noGrp="1"/>
          </p:cNvSpPr>
          <p:nvPr>
            <p:ph type="sldNum" sz="quarter" idx="20"/>
          </p:nvPr>
        </p:nvSpPr>
        <p:spPr/>
        <p:txBody>
          <a:bodyPr/>
          <a:lstStyle/>
          <a:p>
            <a:fld id="{9564BF1B-7A00-4FDB-9ACC-13A0BEC11AB6}" type="slidenum">
              <a:rPr lang="de-DE" smtClean="0"/>
              <a:pPr/>
              <a:t>13</a:t>
            </a:fld>
            <a:endParaRPr lang="de-DE" dirty="0"/>
          </a:p>
        </p:txBody>
      </p:sp>
      <p:sp>
        <p:nvSpPr>
          <p:cNvPr id="5" name="Titel 4"/>
          <p:cNvSpPr>
            <a:spLocks noGrp="1"/>
          </p:cNvSpPr>
          <p:nvPr>
            <p:ph type="title"/>
          </p:nvPr>
        </p:nvSpPr>
        <p:spPr/>
        <p:txBody>
          <a:bodyPr/>
          <a:lstStyle/>
          <a:p>
            <a:r>
              <a:rPr lang="de-DE" dirty="0"/>
              <a:t>Sägen</a:t>
            </a:r>
          </a:p>
        </p:txBody>
      </p:sp>
      <p:pic>
        <p:nvPicPr>
          <p:cNvPr id="7" name="Picture 11" descr="Bild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4130" y="1601093"/>
            <a:ext cx="2286000" cy="203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Bild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55551" y="3701311"/>
            <a:ext cx="3136900" cy="222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a:extLst>
              <a:ext uri="{FF2B5EF4-FFF2-40B4-BE49-F238E27FC236}">
                <a16:creationId xmlns:a16="http://schemas.microsoft.com/office/drawing/2014/main" id="{AE5E374F-8948-44C1-A887-552939C3029D}"/>
              </a:ext>
            </a:extLst>
          </p:cNvPr>
          <p:cNvSpPr/>
          <p:nvPr/>
        </p:nvSpPr>
        <p:spPr>
          <a:xfrm>
            <a:off x="9528390" y="5987267"/>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98363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spcAft>
                <a:spcPts val="600"/>
              </a:spcAft>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Schraubenschlüssel nur mit passender Schlüsselweite verwend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Ringschlüssel dem Maulschlüssel vorziehen, da dadurch die Abrutschgefahr verringert wird.</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Arbeitsmittel mit abgenutzten oder verbogenen Rändern dürfen nicht verwendet werd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Keine geweiteten Maulschlüssel benutzen. </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Jegliche Versuche der Nacharbeit sind zu unterbleiben.</a:t>
            </a:r>
          </a:p>
        </p:txBody>
      </p:sp>
      <p:sp>
        <p:nvSpPr>
          <p:cNvPr id="3" name="Foliennummernplatzhalter 2"/>
          <p:cNvSpPr>
            <a:spLocks noGrp="1"/>
          </p:cNvSpPr>
          <p:nvPr>
            <p:ph type="sldNum" sz="quarter" idx="20"/>
          </p:nvPr>
        </p:nvSpPr>
        <p:spPr/>
        <p:txBody>
          <a:bodyPr/>
          <a:lstStyle/>
          <a:p>
            <a:fld id="{9564BF1B-7A00-4FDB-9ACC-13A0BEC11AB6}" type="slidenum">
              <a:rPr lang="de-DE" smtClean="0"/>
              <a:pPr/>
              <a:t>14</a:t>
            </a:fld>
            <a:endParaRPr lang="de-DE" dirty="0"/>
          </a:p>
        </p:txBody>
      </p:sp>
      <p:sp>
        <p:nvSpPr>
          <p:cNvPr id="5" name="Titel 4"/>
          <p:cNvSpPr>
            <a:spLocks noGrp="1"/>
          </p:cNvSpPr>
          <p:nvPr>
            <p:ph type="title"/>
          </p:nvPr>
        </p:nvSpPr>
        <p:spPr/>
        <p:txBody>
          <a:bodyPr/>
          <a:lstStyle/>
          <a:p>
            <a:r>
              <a:rPr lang="de-DE" dirty="0"/>
              <a:t>Schraubenschlüssel</a:t>
            </a:r>
          </a:p>
        </p:txBody>
      </p:sp>
      <p:pic>
        <p:nvPicPr>
          <p:cNvPr id="7" name="Picture 21" descr="Bild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8128" y="1700808"/>
            <a:ext cx="3651250" cy="1163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4" descr="Bild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62415" y="3050930"/>
            <a:ext cx="3636963"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descr="Bild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8603" y="4488364"/>
            <a:ext cx="367030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hteck 7">
            <a:extLst>
              <a:ext uri="{FF2B5EF4-FFF2-40B4-BE49-F238E27FC236}">
                <a16:creationId xmlns:a16="http://schemas.microsoft.com/office/drawing/2014/main" id="{A1937033-532F-410D-8562-84813C8E4B98}"/>
              </a:ext>
            </a:extLst>
          </p:cNvPr>
          <p:cNvSpPr/>
          <p:nvPr/>
        </p:nvSpPr>
        <p:spPr>
          <a:xfrm>
            <a:off x="10238527" y="5818076"/>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190524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a:xfrm>
            <a:off x="525601" y="1601093"/>
            <a:ext cx="6434495" cy="4495434"/>
          </a:xfrm>
        </p:spPr>
        <p:txBody>
          <a:bodyPr/>
          <a:lstStyle/>
          <a:p>
            <a:pPr marL="285750" indent="-285750">
              <a:buFont typeface="Wingdings" panose="05000000000000000000" pitchFamily="2" charset="2"/>
              <a:buChar char="§"/>
              <a:defRPr/>
            </a:pPr>
            <a:r>
              <a:rPr lang="de-DE" altLang="de-DE" dirty="0">
                <a:latin typeface="Calibri" charset="0"/>
                <a:ea typeface="Calibri" charset="0"/>
                <a:cs typeface="Calibri" charset="0"/>
              </a:rPr>
              <a:t>Griffschenkel dürfen sich nicht schließen (Quetschgefahr).</a:t>
            </a:r>
          </a:p>
          <a:p>
            <a:pPr marL="285750" indent="-285750">
              <a:buFont typeface="Wingdings" panose="05000000000000000000" pitchFamily="2" charset="2"/>
              <a:buChar char="§"/>
              <a:defRPr/>
            </a:pPr>
            <a:r>
              <a:rPr lang="de-DE" altLang="de-DE" dirty="0">
                <a:latin typeface="Calibri" charset="0"/>
                <a:ea typeface="Calibri" charset="0"/>
                <a:cs typeface="Calibri" charset="0"/>
              </a:rPr>
              <a:t>Griffe sind öl- und fettfrei zu halten.</a:t>
            </a:r>
          </a:p>
          <a:p>
            <a:pPr marL="285750" indent="-285750">
              <a:buFont typeface="Wingdings" panose="05000000000000000000" pitchFamily="2" charset="2"/>
              <a:buChar char="§"/>
              <a:defRPr/>
            </a:pPr>
            <a:r>
              <a:rPr lang="de-DE" altLang="de-DE" dirty="0">
                <a:latin typeface="Calibri" charset="0"/>
                <a:ea typeface="Calibri" charset="0"/>
                <a:cs typeface="Calibri" charset="0"/>
              </a:rPr>
              <a:t>Zangen sollten verzugsfrei sein.</a:t>
            </a:r>
          </a:p>
          <a:p>
            <a:pPr marL="285750" indent="-285750">
              <a:buFont typeface="Wingdings" panose="05000000000000000000" pitchFamily="2" charset="2"/>
              <a:buChar char="§"/>
              <a:defRPr/>
            </a:pPr>
            <a:r>
              <a:rPr lang="de-DE" altLang="de-DE" dirty="0">
                <a:latin typeface="Calibri" charset="0"/>
                <a:ea typeface="Calibri" charset="0"/>
                <a:cs typeface="Calibri" charset="0"/>
              </a:rPr>
              <a:t>Das Öffnen und Schließen der Zangen sollten gewährleistet sein.</a:t>
            </a:r>
          </a:p>
          <a:p>
            <a:pPr marL="285750" indent="-285750">
              <a:buFont typeface="Wingdings" panose="05000000000000000000" pitchFamily="2" charset="2"/>
              <a:buChar char="§"/>
              <a:defRPr/>
            </a:pPr>
            <a:r>
              <a:rPr lang="de-DE" altLang="de-DE" dirty="0">
                <a:latin typeface="Calibri" charset="0"/>
                <a:ea typeface="Calibri" charset="0"/>
                <a:cs typeface="Calibri" charset="0"/>
              </a:rPr>
              <a:t>Das Werkzeug muss zu dem Material des Werkstücks passen.</a:t>
            </a:r>
          </a:p>
          <a:p>
            <a:pPr marL="285750" indent="-285750">
              <a:buFont typeface="Wingdings" panose="05000000000000000000" pitchFamily="2" charset="2"/>
              <a:buChar char="§"/>
              <a:defRPr/>
            </a:pPr>
            <a:r>
              <a:rPr lang="de-DE" altLang="de-DE" dirty="0">
                <a:latin typeface="Calibri" charset="0"/>
                <a:ea typeface="Calibri" charset="0"/>
                <a:cs typeface="Calibri" charset="0"/>
              </a:rPr>
              <a:t>Kneifkanten müssen scharf sein.</a:t>
            </a:r>
          </a:p>
          <a:p>
            <a:pPr marL="285750" indent="-285750">
              <a:buFont typeface="Wingdings" panose="05000000000000000000" pitchFamily="2" charset="2"/>
              <a:buChar char="§"/>
              <a:defRPr/>
            </a:pPr>
            <a:r>
              <a:rPr lang="de-DE" altLang="de-DE" dirty="0">
                <a:latin typeface="Calibri" charset="0"/>
                <a:ea typeface="Calibri" charset="0"/>
                <a:cs typeface="Calibri" charset="0"/>
              </a:rPr>
              <a:t>Backen und Kneifkanten müssen dicht schließen.</a:t>
            </a:r>
          </a:p>
          <a:p>
            <a:pPr marL="285750" indent="-285750">
              <a:buFont typeface="Wingdings" panose="05000000000000000000" pitchFamily="2" charset="2"/>
              <a:buChar char="§"/>
              <a:defRPr/>
            </a:pPr>
            <a:r>
              <a:rPr lang="de-DE" altLang="de-DE" dirty="0">
                <a:latin typeface="Calibri" charset="0"/>
                <a:ea typeface="Calibri" charset="0"/>
                <a:cs typeface="Calibri" charset="0"/>
              </a:rPr>
              <a:t>Flach- und Rundzangen im geschlossenen Zustand schließen nur die Spitze.</a:t>
            </a:r>
          </a:p>
          <a:p>
            <a:pPr>
              <a:tabLst>
                <a:tab pos="180975" algn="l"/>
              </a:tabLst>
              <a:defRPr/>
            </a:pPr>
            <a:endParaRPr lang="de-DE" altLang="de-DE" dirty="0">
              <a:latin typeface="Calibri" charset="0"/>
              <a:ea typeface="Calibri" charset="0"/>
              <a:cs typeface="Calibri" charset="0"/>
            </a:endParaRPr>
          </a:p>
        </p:txBody>
      </p:sp>
      <p:sp>
        <p:nvSpPr>
          <p:cNvPr id="3" name="Foliennummernplatzhalter 2"/>
          <p:cNvSpPr>
            <a:spLocks noGrp="1"/>
          </p:cNvSpPr>
          <p:nvPr>
            <p:ph type="sldNum" sz="quarter" idx="20"/>
          </p:nvPr>
        </p:nvSpPr>
        <p:spPr/>
        <p:txBody>
          <a:bodyPr/>
          <a:lstStyle/>
          <a:p>
            <a:fld id="{9564BF1B-7A00-4FDB-9ACC-13A0BEC11AB6}" type="slidenum">
              <a:rPr lang="de-DE" smtClean="0"/>
              <a:pPr/>
              <a:t>15</a:t>
            </a:fld>
            <a:endParaRPr lang="de-DE" dirty="0"/>
          </a:p>
        </p:txBody>
      </p:sp>
      <p:sp>
        <p:nvSpPr>
          <p:cNvPr id="5" name="Titel 4"/>
          <p:cNvSpPr>
            <a:spLocks noGrp="1"/>
          </p:cNvSpPr>
          <p:nvPr>
            <p:ph type="title"/>
          </p:nvPr>
        </p:nvSpPr>
        <p:spPr/>
        <p:txBody>
          <a:bodyPr/>
          <a:lstStyle/>
          <a:p>
            <a:r>
              <a:rPr lang="de-DE" dirty="0"/>
              <a:t>Zangen</a:t>
            </a:r>
          </a:p>
        </p:txBody>
      </p:sp>
      <p:pic>
        <p:nvPicPr>
          <p:cNvPr id="10" name="Picture 9" descr="Bild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0290929">
            <a:off x="7406830" y="1167535"/>
            <a:ext cx="2315514" cy="4787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hteck 6">
            <a:extLst>
              <a:ext uri="{FF2B5EF4-FFF2-40B4-BE49-F238E27FC236}">
                <a16:creationId xmlns:a16="http://schemas.microsoft.com/office/drawing/2014/main" id="{255F446A-43C3-4361-9F75-BFE64B1F284C}"/>
              </a:ext>
            </a:extLst>
          </p:cNvPr>
          <p:cNvSpPr/>
          <p:nvPr/>
        </p:nvSpPr>
        <p:spPr>
          <a:xfrm>
            <a:off x="9659612" y="5718271"/>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1617876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defRPr/>
            </a:pPr>
            <a:endParaRPr lang="de-DE" altLang="de-DE" dirty="0">
              <a:latin typeface="Calibri" charset="0"/>
              <a:ea typeface="Calibri" charset="0"/>
              <a:cs typeface="Calibri" charset="0"/>
            </a:endParaRPr>
          </a:p>
          <a:p>
            <a:pPr>
              <a:defRPr/>
            </a:pPr>
            <a:r>
              <a:rPr lang="de-DE" altLang="de-DE" dirty="0">
                <a:latin typeface="Calibri" charset="0"/>
                <a:ea typeface="Calibri" charset="0"/>
                <a:cs typeface="Calibri" charset="0"/>
              </a:rPr>
              <a:t>Jegliche Tätigkeiten an unter Spannung stehenden Anlagen sind nur auszuführen mit </a:t>
            </a:r>
          </a:p>
          <a:p>
            <a:pPr marL="342900" lvl="1" indent="-342900">
              <a:buFont typeface="+mj-lt"/>
              <a:buAutoNum type="arabicPeriod"/>
              <a:defRPr/>
            </a:pPr>
            <a:r>
              <a:rPr lang="de-DE" altLang="de-DE" dirty="0">
                <a:latin typeface="Calibri" charset="0"/>
                <a:ea typeface="Calibri" charset="0"/>
                <a:cs typeface="Calibri" charset="0"/>
              </a:rPr>
              <a:t>isolierten Handwerkzeugen und</a:t>
            </a:r>
          </a:p>
          <a:p>
            <a:pPr marL="342900" lvl="1" indent="-342900">
              <a:buFont typeface="+mj-lt"/>
              <a:buAutoNum type="arabicPeriod"/>
              <a:defRPr/>
            </a:pPr>
            <a:r>
              <a:rPr lang="de-DE" altLang="de-DE" dirty="0">
                <a:latin typeface="Calibri" charset="0"/>
                <a:ea typeface="Calibri" charset="0"/>
                <a:cs typeface="Calibri" charset="0"/>
              </a:rPr>
              <a:t>geeigneter PSA.</a:t>
            </a:r>
          </a:p>
          <a:p>
            <a:pPr>
              <a:defRPr/>
            </a:pPr>
            <a:r>
              <a:rPr lang="de-DE" altLang="de-DE" dirty="0">
                <a:latin typeface="Calibri" charset="0"/>
                <a:ea typeface="Calibri" charset="0"/>
                <a:cs typeface="Calibri" charset="0"/>
              </a:rPr>
              <a:t>Nur im angegebenen Spannungsbereich verwenden.</a:t>
            </a:r>
          </a:p>
          <a:p>
            <a:pPr>
              <a:defRPr/>
            </a:pPr>
            <a:r>
              <a:rPr lang="de-DE" altLang="de-DE" dirty="0">
                <a:latin typeface="Calibri" charset="0"/>
                <a:ea typeface="Calibri" charset="0"/>
                <a:cs typeface="Calibri" charset="0"/>
              </a:rPr>
              <a:t>Vor jeder Benutzung muss eine Sichtprüfung stattfinden.</a:t>
            </a:r>
          </a:p>
        </p:txBody>
      </p:sp>
      <p:sp>
        <p:nvSpPr>
          <p:cNvPr id="3" name="Foliennummernplatzhalter 2"/>
          <p:cNvSpPr>
            <a:spLocks noGrp="1"/>
          </p:cNvSpPr>
          <p:nvPr>
            <p:ph type="sldNum" sz="quarter" idx="20"/>
          </p:nvPr>
        </p:nvSpPr>
        <p:spPr/>
        <p:txBody>
          <a:bodyPr/>
          <a:lstStyle/>
          <a:p>
            <a:fld id="{9564BF1B-7A00-4FDB-9ACC-13A0BEC11AB6}" type="slidenum">
              <a:rPr lang="de-DE" smtClean="0"/>
              <a:pPr/>
              <a:t>16</a:t>
            </a:fld>
            <a:endParaRPr lang="de-DE" dirty="0"/>
          </a:p>
        </p:txBody>
      </p:sp>
      <p:sp>
        <p:nvSpPr>
          <p:cNvPr id="5" name="Titel 4"/>
          <p:cNvSpPr>
            <a:spLocks noGrp="1"/>
          </p:cNvSpPr>
          <p:nvPr>
            <p:ph type="title"/>
          </p:nvPr>
        </p:nvSpPr>
        <p:spPr/>
        <p:txBody>
          <a:bodyPr/>
          <a:lstStyle/>
          <a:p>
            <a:r>
              <a:rPr lang="de-DE" dirty="0"/>
              <a:t>ISOLIERTE WERKZEUGE</a:t>
            </a:r>
          </a:p>
        </p:txBody>
      </p:sp>
      <p:pic>
        <p:nvPicPr>
          <p:cNvPr id="11" name="Picture 11" descr="Isoliertes Werkzeu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50498" y="1700808"/>
            <a:ext cx="3096344" cy="393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Bild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09067" y="5660775"/>
            <a:ext cx="272891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6">
            <a:extLst>
              <a:ext uri="{FF2B5EF4-FFF2-40B4-BE49-F238E27FC236}">
                <a16:creationId xmlns:a16="http://schemas.microsoft.com/office/drawing/2014/main" id="{B93C7C4F-3880-4695-B2D0-28407DEE9F3E}"/>
              </a:ext>
            </a:extLst>
          </p:cNvPr>
          <p:cNvPicPr>
            <a:picLocks noChangeAspect="1"/>
          </p:cNvPicPr>
          <p:nvPr/>
        </p:nvPicPr>
        <p:blipFill>
          <a:blip r:embed="rId5" cstate="print"/>
          <a:stretch>
            <a:fillRect/>
          </a:stretch>
        </p:blipFill>
        <p:spPr>
          <a:xfrm>
            <a:off x="9906224" y="5944798"/>
            <a:ext cx="609653" cy="213378"/>
          </a:xfrm>
          <a:prstGeom prst="rect">
            <a:avLst/>
          </a:prstGeom>
        </p:spPr>
      </p:pic>
    </p:spTree>
    <p:extLst>
      <p:ext uri="{BB962C8B-B14F-4D97-AF65-F5344CB8AC3E}">
        <p14:creationId xmlns:p14="http://schemas.microsoft.com/office/powerpoint/2010/main" val="112233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buNone/>
            </a:pPr>
            <a:r>
              <a:rPr lang="de-DE" dirty="0"/>
              <a:t>Werkzeug wird in Unternehmen an folgenden Stellen aufbewahrt:</a:t>
            </a:r>
          </a:p>
          <a:p>
            <a:pPr lvl="1"/>
            <a:r>
              <a:rPr lang="de-DE" dirty="0"/>
              <a:t>in Werkzeugkästen/-koffern</a:t>
            </a:r>
          </a:p>
          <a:p>
            <a:pPr lvl="1"/>
            <a:r>
              <a:rPr lang="de-DE" dirty="0"/>
              <a:t>in Werkzeugschränken.</a:t>
            </a:r>
          </a:p>
          <a:p>
            <a:pPr lvl="1"/>
            <a:endParaRPr lang="de-DE" dirty="0"/>
          </a:p>
          <a:p>
            <a:r>
              <a:rPr lang="de-DE" dirty="0"/>
              <a:t>Das Handwerkzeug muss nach der Verwendung wieder </a:t>
            </a:r>
            <a:r>
              <a:rPr lang="de-DE" b="1" dirty="0"/>
              <a:t>sauber</a:t>
            </a:r>
            <a:r>
              <a:rPr lang="de-DE" dirty="0"/>
              <a:t> und </a:t>
            </a:r>
            <a:r>
              <a:rPr lang="de-DE" b="1" dirty="0"/>
              <a:t>ordentlich </a:t>
            </a:r>
            <a:r>
              <a:rPr lang="de-DE" dirty="0"/>
              <a:t>an seinen Platz zurückgebracht werden!</a:t>
            </a:r>
          </a:p>
          <a:p>
            <a:pPr>
              <a:buNone/>
            </a:pPr>
            <a:endParaRPr lang="de-DE" dirty="0"/>
          </a:p>
          <a:p>
            <a:r>
              <a:rPr lang="de-DE" dirty="0"/>
              <a:t>Es ist nicht erlaubt, Werkzeug im Raum herumliegen zu lassen.</a:t>
            </a:r>
          </a:p>
          <a:p>
            <a:r>
              <a:rPr lang="de-DE" dirty="0"/>
              <a:t>Der Arbeitsplatz ist stets aufgeräumt und sauber zu halten.</a:t>
            </a:r>
          </a:p>
          <a:p>
            <a:pPr>
              <a:spcBef>
                <a:spcPts val="400"/>
              </a:spcBef>
              <a:buNone/>
            </a:pPr>
            <a:endParaRPr lang="de-DE" sz="1500" dirty="0">
              <a:latin typeface="Verdana" charset="0"/>
            </a:endParaRPr>
          </a:p>
          <a:p>
            <a:pPr>
              <a:spcBef>
                <a:spcPts val="400"/>
              </a:spcBef>
              <a:buNone/>
            </a:pPr>
            <a:endParaRPr lang="de-DE" sz="1500" dirty="0">
              <a:latin typeface="Verdana" charset="0"/>
            </a:endParaRPr>
          </a:p>
          <a:p>
            <a:pPr marL="0" lvl="1" indent="0">
              <a:spcBef>
                <a:spcPts val="0"/>
              </a:spcBef>
              <a:buNone/>
            </a:pPr>
            <a:endParaRPr lang="de-DE" altLang="de-DE" sz="1500" dirty="0">
              <a:latin typeface="Verdana" charset="0"/>
            </a:endParaRPr>
          </a:p>
          <a:p>
            <a:pPr marL="216000" lvl="1">
              <a:spcBef>
                <a:spcPts val="0"/>
              </a:spcBef>
              <a:buFont typeface="Wingdings" panose="05000000000000000000" pitchFamily="2" charset="2"/>
              <a:buChar char="§"/>
            </a:pPr>
            <a:endParaRPr lang="de-DE" altLang="de-DE" sz="1500" dirty="0">
              <a:latin typeface="Verdana" charset="0"/>
            </a:endParaRPr>
          </a:p>
          <a:p>
            <a:pPr marL="216000" lvl="1">
              <a:spcBef>
                <a:spcPts val="0"/>
              </a:spcBef>
              <a:buFont typeface="Wingdings" panose="05000000000000000000" pitchFamily="2" charset="2"/>
              <a:buChar char="§"/>
            </a:pPr>
            <a:endParaRPr lang="de-DE" altLang="de-DE" sz="1500" dirty="0">
              <a:latin typeface="Verdana" charset="0"/>
            </a:endParaRPr>
          </a:p>
          <a:p>
            <a:pPr marL="0" lvl="1" indent="0">
              <a:spcBef>
                <a:spcPts val="0"/>
              </a:spcBef>
              <a:buNone/>
            </a:pPr>
            <a:endParaRPr lang="de-DE" altLang="de-DE" sz="1500" dirty="0">
              <a:latin typeface="Verdana" charset="0"/>
            </a:endParaRPr>
          </a:p>
          <a:p>
            <a:pPr>
              <a:spcBef>
                <a:spcPts val="0"/>
              </a:spcBef>
            </a:pPr>
            <a:endParaRPr lang="de-DE" altLang="de-DE" sz="1500" dirty="0">
              <a:latin typeface="Verdana" charset="0"/>
            </a:endParaRPr>
          </a:p>
          <a:p>
            <a:pPr>
              <a:spcBef>
                <a:spcPts val="0"/>
              </a:spcBef>
              <a:buNone/>
            </a:pPr>
            <a:endParaRPr lang="de-DE" dirty="0"/>
          </a:p>
          <a:p>
            <a:pPr>
              <a:spcBef>
                <a:spcPts val="0"/>
              </a:spcBef>
            </a:pPr>
            <a:endParaRPr lang="de-DE" dirty="0"/>
          </a:p>
          <a:p>
            <a:endParaRPr lang="de-DE" dirty="0"/>
          </a:p>
          <a:p>
            <a:endParaRPr lang="de-DE" dirty="0"/>
          </a:p>
        </p:txBody>
      </p:sp>
      <p:sp>
        <p:nvSpPr>
          <p:cNvPr id="3" name="Foliennummernplatzhalter 2"/>
          <p:cNvSpPr>
            <a:spLocks noGrp="1"/>
          </p:cNvSpPr>
          <p:nvPr>
            <p:ph type="sldNum" sz="quarter" idx="20"/>
          </p:nvPr>
        </p:nvSpPr>
        <p:spPr/>
        <p:txBody>
          <a:bodyPr/>
          <a:lstStyle/>
          <a:p>
            <a:fld id="{9564BF1B-7A00-4FDB-9ACC-13A0BEC11AB6}" type="slidenum">
              <a:rPr lang="de-DE" smtClean="0"/>
              <a:pPr/>
              <a:t>17</a:t>
            </a:fld>
            <a:endParaRPr lang="de-DE" dirty="0"/>
          </a:p>
        </p:txBody>
      </p:sp>
      <p:sp>
        <p:nvSpPr>
          <p:cNvPr id="5" name="Titel 4"/>
          <p:cNvSpPr>
            <a:spLocks noGrp="1"/>
          </p:cNvSpPr>
          <p:nvPr>
            <p:ph type="title"/>
          </p:nvPr>
        </p:nvSpPr>
        <p:spPr/>
        <p:txBody>
          <a:bodyPr/>
          <a:lstStyle/>
          <a:p>
            <a:r>
              <a:rPr lang="de-DE" dirty="0"/>
              <a:t>Lagern Sie Ihr Werkzeug stets richtig!</a:t>
            </a:r>
          </a:p>
        </p:txBody>
      </p:sp>
      <p:pic>
        <p:nvPicPr>
          <p:cNvPr id="8" name="Grafik 7">
            <a:extLst>
              <a:ext uri="{FF2B5EF4-FFF2-40B4-BE49-F238E27FC236}">
                <a16:creationId xmlns:a16="http://schemas.microsoft.com/office/drawing/2014/main" id="{0A9C3642-0355-44E6-9FB9-7199A57D49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8128" y="1630487"/>
            <a:ext cx="3945964" cy="3685530"/>
          </a:xfrm>
          <a:prstGeom prst="rect">
            <a:avLst/>
          </a:prstGeom>
        </p:spPr>
      </p:pic>
      <p:sp>
        <p:nvSpPr>
          <p:cNvPr id="7" name="Rechteck 6">
            <a:extLst>
              <a:ext uri="{FF2B5EF4-FFF2-40B4-BE49-F238E27FC236}">
                <a16:creationId xmlns:a16="http://schemas.microsoft.com/office/drawing/2014/main" id="{46DA42C8-FFD2-477F-AC0D-1DB018750919}"/>
              </a:ext>
            </a:extLst>
          </p:cNvPr>
          <p:cNvSpPr/>
          <p:nvPr/>
        </p:nvSpPr>
        <p:spPr>
          <a:xfrm>
            <a:off x="10523716" y="5424173"/>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158153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643FE671-1D89-041E-5AD1-086D1622C4B0}"/>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C2F8C085-11BA-36B2-3BAA-FF1A1815153C}"/>
              </a:ext>
            </a:extLst>
          </p:cNvPr>
          <p:cNvSpPr>
            <a:spLocks noGrp="1"/>
          </p:cNvSpPr>
          <p:nvPr>
            <p:ph type="sldNum" sz="quarter" idx="11"/>
          </p:nvPr>
        </p:nvSpPr>
        <p:spPr/>
        <p:txBody>
          <a:bodyPr/>
          <a:lstStyle/>
          <a:p>
            <a:fld id="{521AE3AC-DDCA-45D4-9B2A-A2DBEA872607}" type="slidenum">
              <a:rPr lang="de-DE" smtClean="0"/>
              <a:pPr/>
              <a:t>18</a:t>
            </a:fld>
            <a:endParaRPr lang="de-DE" dirty="0"/>
          </a:p>
        </p:txBody>
      </p:sp>
      <p:sp>
        <p:nvSpPr>
          <p:cNvPr id="4" name="Titel 3">
            <a:extLst>
              <a:ext uri="{FF2B5EF4-FFF2-40B4-BE49-F238E27FC236}">
                <a16:creationId xmlns:a16="http://schemas.microsoft.com/office/drawing/2014/main" id="{B52A9AFF-A742-B509-485C-9AEF52136EFB}"/>
              </a:ext>
            </a:extLst>
          </p:cNvPr>
          <p:cNvSpPr>
            <a:spLocks noGrp="1"/>
          </p:cNvSpPr>
          <p:nvPr>
            <p:ph type="title"/>
          </p:nvPr>
        </p:nvSpPr>
        <p:spPr/>
        <p:txBody>
          <a:bodyPr/>
          <a:lstStyle/>
          <a:p>
            <a:endParaRPr lang="de-DE"/>
          </a:p>
        </p:txBody>
      </p:sp>
      <p:sp>
        <p:nvSpPr>
          <p:cNvPr id="5" name="Textplatzhalter 4">
            <a:extLst>
              <a:ext uri="{FF2B5EF4-FFF2-40B4-BE49-F238E27FC236}">
                <a16:creationId xmlns:a16="http://schemas.microsoft.com/office/drawing/2014/main" id="{E90E458B-DD01-701F-EC42-AFAEC3035098}"/>
              </a:ext>
            </a:extLst>
          </p:cNvPr>
          <p:cNvSpPr>
            <a:spLocks noGrp="1"/>
          </p:cNvSpPr>
          <p:nvPr>
            <p:ph type="body" sz="quarter" idx="14"/>
          </p:nvPr>
        </p:nvSpPr>
        <p:spPr/>
        <p:txBody>
          <a:bodyPr/>
          <a:lstStyle/>
          <a:p>
            <a:endParaRPr lang="de-DE"/>
          </a:p>
        </p:txBody>
      </p:sp>
      <p:sp>
        <p:nvSpPr>
          <p:cNvPr id="6" name="Textplatzhalter 5">
            <a:extLst>
              <a:ext uri="{FF2B5EF4-FFF2-40B4-BE49-F238E27FC236}">
                <a16:creationId xmlns:a16="http://schemas.microsoft.com/office/drawing/2014/main" id="{79608C3E-3E1E-EE74-1463-38A9543CF067}"/>
              </a:ext>
            </a:extLst>
          </p:cNvPr>
          <p:cNvSpPr>
            <a:spLocks noGrp="1"/>
          </p:cNvSpPr>
          <p:nvPr>
            <p:ph type="body" sz="quarter" idx="15"/>
          </p:nvPr>
        </p:nvSpPr>
        <p:spPr/>
        <p:txBody>
          <a:bodyPr/>
          <a:lstStyle/>
          <a:p>
            <a:endParaRPr lang="de-DE"/>
          </a:p>
        </p:txBody>
      </p:sp>
      <p:sp>
        <p:nvSpPr>
          <p:cNvPr id="7" name="Textplatzhalter 6">
            <a:extLst>
              <a:ext uri="{FF2B5EF4-FFF2-40B4-BE49-F238E27FC236}">
                <a16:creationId xmlns:a16="http://schemas.microsoft.com/office/drawing/2014/main" id="{7BA52BA9-A1DD-255C-06E0-9A764DCB3599}"/>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FF1525CB-43D9-F225-5DED-021A8137D5F5}"/>
              </a:ext>
            </a:extLst>
          </p:cNvPr>
          <p:cNvSpPr>
            <a:spLocks noGrp="1"/>
          </p:cNvSpPr>
          <p:nvPr>
            <p:ph type="body" sz="quarter" idx="17"/>
          </p:nvPr>
        </p:nvSpPr>
        <p:spPr/>
        <p:txBody>
          <a:bodyPr/>
          <a:lstStyle/>
          <a:p>
            <a:endParaRPr lang="de-DE"/>
          </a:p>
        </p:txBody>
      </p:sp>
      <p:sp>
        <p:nvSpPr>
          <p:cNvPr id="9" name="Textplatzhalter 8">
            <a:extLst>
              <a:ext uri="{FF2B5EF4-FFF2-40B4-BE49-F238E27FC236}">
                <a16:creationId xmlns:a16="http://schemas.microsoft.com/office/drawing/2014/main" id="{617BB581-A7D1-91F6-8F9A-C7292FC3FC3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32114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25601" y="1601093"/>
            <a:ext cx="5394163" cy="4495434"/>
          </a:xfrm>
        </p:spPr>
        <p:txBody>
          <a:bodyPr vert="horz" lIns="0" tIns="0" rIns="0" bIns="0" rtlCol="0">
            <a:normAutofit/>
          </a:bodyPr>
          <a:lstStyle/>
          <a:p>
            <a:pPr>
              <a:spcBef>
                <a:spcPts val="0"/>
              </a:spcBef>
              <a:buNone/>
            </a:pPr>
            <a:r>
              <a:rPr lang="de-DE" dirty="0"/>
              <a:t>... hat als Konsequenzen:</a:t>
            </a:r>
          </a:p>
          <a:p>
            <a:pPr>
              <a:spcBef>
                <a:spcPts val="0"/>
              </a:spcBef>
              <a:buNone/>
            </a:pPr>
            <a:endParaRPr lang="de-DE" dirty="0"/>
          </a:p>
          <a:p>
            <a:pPr lvl="1">
              <a:buFont typeface="Wingdings" charset="2"/>
              <a:buChar char="§"/>
            </a:pPr>
            <a:r>
              <a:rPr lang="de-DE" dirty="0"/>
              <a:t>schwere Handverletzungen</a:t>
            </a:r>
          </a:p>
          <a:p>
            <a:pPr lvl="1">
              <a:buFont typeface="Wingdings" charset="2"/>
              <a:buChar char="§"/>
            </a:pPr>
            <a:endParaRPr lang="de-DE" dirty="0"/>
          </a:p>
          <a:p>
            <a:pPr lvl="1">
              <a:buFont typeface="Wingdings" charset="2"/>
              <a:buChar char="§"/>
            </a:pPr>
            <a:r>
              <a:rPr lang="de-DE" dirty="0"/>
              <a:t>Ausfallzeiten von Mitarbeitern</a:t>
            </a:r>
          </a:p>
          <a:p>
            <a:pPr lvl="1">
              <a:buFont typeface="Wingdings" charset="2"/>
              <a:buChar char="§"/>
            </a:pPr>
            <a:endParaRPr lang="de-DE" dirty="0"/>
          </a:p>
          <a:p>
            <a:pPr lvl="1">
              <a:buFont typeface="Wingdings" charset="2"/>
              <a:buChar char="§"/>
            </a:pPr>
            <a:r>
              <a:rPr lang="de-DE" dirty="0"/>
              <a:t>Arbeitsplatzverlust von Beschäftigten</a:t>
            </a:r>
          </a:p>
          <a:p>
            <a:pPr>
              <a:spcBef>
                <a:spcPts val="0"/>
              </a:spcBef>
              <a:buNone/>
            </a:pPr>
            <a:endParaRPr lang="de-DE" altLang="de-DE" dirty="0"/>
          </a:p>
          <a:p>
            <a:endParaRPr lang="de-DE" dirty="0"/>
          </a:p>
        </p:txBody>
      </p:sp>
      <p:pic>
        <p:nvPicPr>
          <p:cNvPr id="10" name="Grafik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7589" y="1994139"/>
            <a:ext cx="5575303" cy="3721515"/>
          </a:xfrm>
          <a:prstGeom prst="rect">
            <a:avLst/>
          </a:prstGeom>
          <a:noFill/>
        </p:spPr>
      </p:pic>
      <p:sp>
        <p:nvSpPr>
          <p:cNvPr id="3" name="Foliennummernplatzhalter 2"/>
          <p:cNvSpPr>
            <a:spLocks noGrp="1"/>
          </p:cNvSpPr>
          <p:nvPr>
            <p:ph type="sldNum" sz="quarter" idx="20"/>
          </p:nvPr>
        </p:nvSpPr>
        <p:spPr>
          <a:xfrm>
            <a:off x="11672889" y="6525203"/>
            <a:ext cx="322052" cy="181500"/>
          </a:xfrm>
        </p:spPr>
        <p:txBody>
          <a:bodyPr vert="horz" lIns="0" tIns="0" rIns="0" bIns="0" rtlCol="0" anchor="ctr">
            <a:normAutofit/>
          </a:bodyPr>
          <a:lstStyle/>
          <a:p>
            <a:pPr>
              <a:spcAft>
                <a:spcPts val="600"/>
              </a:spcAft>
            </a:pPr>
            <a:fld id="{9564BF1B-7A00-4FDB-9ACC-13A0BEC11AB6}" type="slidenum">
              <a:rPr lang="de-DE" smtClean="0"/>
              <a:pPr>
                <a:spcAft>
                  <a:spcPts val="600"/>
                </a:spcAft>
              </a:pPr>
              <a:t>2</a:t>
            </a:fld>
            <a:endParaRPr lang="de-DE"/>
          </a:p>
        </p:txBody>
      </p:sp>
      <p:sp>
        <p:nvSpPr>
          <p:cNvPr id="5" name="Titel 4"/>
          <p:cNvSpPr>
            <a:spLocks noGrp="1"/>
          </p:cNvSpPr>
          <p:nvPr>
            <p:ph type="title"/>
          </p:nvPr>
        </p:nvSpPr>
        <p:spPr>
          <a:xfrm>
            <a:off x="525600" y="673200"/>
            <a:ext cx="9121320" cy="360000"/>
          </a:xfrm>
        </p:spPr>
        <p:txBody>
          <a:bodyPr vert="horz" lIns="0" tIns="0" rIns="0" bIns="0" rtlCol="0" anchor="t" anchorCtr="0">
            <a:noAutofit/>
          </a:bodyPr>
          <a:lstStyle/>
          <a:p>
            <a:br>
              <a:rPr lang="de-DE" b="0" kern="1200" cap="all" baseline="0" dirty="0">
                <a:latin typeface="+mj-lt"/>
                <a:ea typeface="+mj-ea"/>
                <a:cs typeface="+mj-cs"/>
              </a:rPr>
            </a:br>
            <a:r>
              <a:rPr lang="de-DE" b="0" kern="1200" cap="all" baseline="0" dirty="0">
                <a:latin typeface="+mj-lt"/>
                <a:ea typeface="+mj-ea"/>
                <a:cs typeface="+mj-cs"/>
              </a:rPr>
              <a:t>Fehlerhafter Umgang mit Handwerkzeug ...</a:t>
            </a:r>
          </a:p>
        </p:txBody>
      </p:sp>
    </p:spTree>
    <p:extLst>
      <p:ext uri="{BB962C8B-B14F-4D97-AF65-F5344CB8AC3E}">
        <p14:creationId xmlns:p14="http://schemas.microsoft.com/office/powerpoint/2010/main" val="135951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9F426ED-C102-F2BC-3A1F-F862E311543B}"/>
              </a:ext>
            </a:extLst>
          </p:cNvPr>
          <p:cNvSpPr>
            <a:spLocks noGrp="1"/>
          </p:cNvSpPr>
          <p:nvPr>
            <p:ph type="title"/>
          </p:nvPr>
        </p:nvSpPr>
        <p:spPr>
          <a:xfrm>
            <a:off x="525600" y="673200"/>
            <a:ext cx="9121320" cy="360000"/>
          </a:xfrm>
        </p:spPr>
        <p:txBody>
          <a:bodyPr/>
          <a:lstStyle/>
          <a:p>
            <a:r>
              <a:rPr lang="de-DE" dirty="0"/>
              <a:t>Auswahl geeigneter Handwerkzeuge</a:t>
            </a:r>
            <a:endParaRPr lang="en-US" dirty="0"/>
          </a:p>
        </p:txBody>
      </p:sp>
      <p:sp>
        <p:nvSpPr>
          <p:cNvPr id="15" name="Text Placeholder 2">
            <a:extLst>
              <a:ext uri="{FF2B5EF4-FFF2-40B4-BE49-F238E27FC236}">
                <a16:creationId xmlns:a16="http://schemas.microsoft.com/office/drawing/2014/main" id="{2044379C-95F3-9C73-3587-9DDA20C328EE}"/>
              </a:ext>
            </a:extLst>
          </p:cNvPr>
          <p:cNvSpPr>
            <a:spLocks noGrp="1"/>
          </p:cNvSpPr>
          <p:nvPr>
            <p:ph type="body" sz="quarter" idx="18"/>
          </p:nvPr>
        </p:nvSpPr>
        <p:spPr>
          <a:xfrm>
            <a:off x="527051" y="1054609"/>
            <a:ext cx="9684000" cy="360000"/>
          </a:xfrm>
        </p:spPr>
        <p:txBody>
          <a:bodyPr/>
          <a:lstStyle/>
          <a:p>
            <a:endParaRPr lang="en-US"/>
          </a:p>
        </p:txBody>
      </p:sp>
      <p:sp>
        <p:nvSpPr>
          <p:cNvPr id="2" name="Inhaltsplatzhalter 1">
            <a:extLst>
              <a:ext uri="{FF2B5EF4-FFF2-40B4-BE49-F238E27FC236}">
                <a16:creationId xmlns:a16="http://schemas.microsoft.com/office/drawing/2014/main" id="{26F79BC6-A41B-0661-103D-15EF9A6B8676}"/>
              </a:ext>
            </a:extLst>
          </p:cNvPr>
          <p:cNvSpPr>
            <a:spLocks noGrp="1"/>
          </p:cNvSpPr>
          <p:nvPr>
            <p:ph sz="quarter" idx="19"/>
          </p:nvPr>
        </p:nvSpPr>
        <p:spPr>
          <a:xfrm>
            <a:off x="527053" y="1601093"/>
            <a:ext cx="5497513" cy="4495434"/>
          </a:xfrm>
        </p:spPr>
        <p:txBody>
          <a:bodyPr>
            <a:normAutofit/>
          </a:bodyPr>
          <a:lstStyle/>
          <a:p>
            <a:pPr>
              <a:buNone/>
              <a:defRPr/>
            </a:pPr>
            <a:r>
              <a:rPr lang="de-DE" altLang="de-DE" dirty="0"/>
              <a:t>Geeignete Werkzeuge (Arbeitsmittel) sind:</a:t>
            </a:r>
          </a:p>
          <a:p>
            <a:pPr>
              <a:defRPr/>
            </a:pPr>
            <a:r>
              <a:rPr lang="de-DE" altLang="de-DE" dirty="0"/>
              <a:t>ausschließlich von guter Qualität,</a:t>
            </a:r>
          </a:p>
          <a:p>
            <a:pPr>
              <a:defRPr/>
            </a:pPr>
            <a:r>
              <a:rPr lang="de-DE" altLang="de-DE" dirty="0"/>
              <a:t>entsprechend ihrem Einsatzort auszuwählen,</a:t>
            </a:r>
          </a:p>
          <a:p>
            <a:pPr>
              <a:defRPr/>
            </a:pPr>
            <a:r>
              <a:rPr lang="de-DE" altLang="de-DE" dirty="0"/>
              <a:t>entsprechend ihrem Verwendungszweck einzusetzen,</a:t>
            </a:r>
          </a:p>
          <a:p>
            <a:pPr>
              <a:defRPr/>
            </a:pPr>
            <a:r>
              <a:rPr lang="de-DE" altLang="de-DE" dirty="0"/>
              <a:t>ordentlich aufzubewahren und bereitzuhalten,</a:t>
            </a:r>
          </a:p>
          <a:p>
            <a:pPr>
              <a:defRPr/>
            </a:pPr>
            <a:r>
              <a:rPr lang="de-DE" altLang="de-DE" dirty="0"/>
              <a:t>in gutem Zustand in Gebrauch zu nehmen und zu erhalten.</a:t>
            </a:r>
          </a:p>
          <a:p>
            <a:endParaRPr lang="de-DE" dirty="0"/>
          </a:p>
        </p:txBody>
      </p:sp>
      <p:sp>
        <p:nvSpPr>
          <p:cNvPr id="17" name="Footer Placeholder 4">
            <a:extLst>
              <a:ext uri="{FF2B5EF4-FFF2-40B4-BE49-F238E27FC236}">
                <a16:creationId xmlns:a16="http://schemas.microsoft.com/office/drawing/2014/main" id="{D2D19E98-761D-B258-F276-86B811BBB5B2}"/>
              </a:ext>
            </a:extLst>
          </p:cNvPr>
          <p:cNvSpPr>
            <a:spLocks noGrp="1"/>
          </p:cNvSpPr>
          <p:nvPr>
            <p:ph type="ftr" sz="quarter" idx="20"/>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30FF6393-E17E-77AD-6E35-190A93615B9B}"/>
              </a:ext>
            </a:extLst>
          </p:cNvPr>
          <p:cNvSpPr>
            <a:spLocks noGrp="1"/>
          </p:cNvSpPr>
          <p:nvPr>
            <p:ph type="sldNum" sz="quarter" idx="21"/>
          </p:nvPr>
        </p:nvSpPr>
        <p:spPr>
          <a:xfrm>
            <a:off x="11672889" y="6525203"/>
            <a:ext cx="322052" cy="181500"/>
          </a:xfrm>
        </p:spPr>
        <p:txBody>
          <a:bodyPr anchor="ctr">
            <a:normAutofit/>
          </a:bodyPr>
          <a:lstStyle/>
          <a:p>
            <a:pPr>
              <a:spcAft>
                <a:spcPts val="600"/>
              </a:spcAft>
            </a:pPr>
            <a:fld id="{521AE3AC-DDCA-45D4-9B2A-A2DBEA872607}" type="slidenum">
              <a:rPr lang="de-DE" smtClean="0"/>
              <a:pPr>
                <a:spcAft>
                  <a:spcPts val="600"/>
                </a:spcAft>
              </a:pPr>
              <a:t>3</a:t>
            </a:fld>
            <a:endParaRPr lang="de-DE"/>
          </a:p>
        </p:txBody>
      </p:sp>
      <p:pic>
        <p:nvPicPr>
          <p:cNvPr id="10" name="Picture 5" descr="hdwz01">
            <a:extLst>
              <a:ext uri="{FF2B5EF4-FFF2-40B4-BE49-F238E27FC236}">
                <a16:creationId xmlns:a16="http://schemas.microsoft.com/office/drawing/2014/main" id="{8536C20D-8A6D-C570-E2A8-CE971688C78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48128" y="1480896"/>
            <a:ext cx="3154488" cy="479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445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A57ECC-DF0D-5C94-72AD-2B7821E1D8D8}"/>
              </a:ext>
            </a:extLst>
          </p:cNvPr>
          <p:cNvSpPr>
            <a:spLocks noGrp="1"/>
          </p:cNvSpPr>
          <p:nvPr>
            <p:ph type="title"/>
          </p:nvPr>
        </p:nvSpPr>
        <p:spPr/>
        <p:txBody>
          <a:bodyPr/>
          <a:lstStyle/>
          <a:p>
            <a:r>
              <a:rPr lang="de-DE" sz="3200" dirty="0"/>
              <a:t>Das </a:t>
            </a:r>
            <a:r>
              <a:rPr lang="de-DE" dirty="0"/>
              <a:t>richtige Werkzeug </a:t>
            </a:r>
            <a:r>
              <a:rPr lang="mr-IN" dirty="0"/>
              <a:t>–</a:t>
            </a:r>
            <a:r>
              <a:rPr lang="de-DE" dirty="0"/>
              <a:t> für die richtige Arbeit</a:t>
            </a:r>
          </a:p>
        </p:txBody>
      </p:sp>
      <p:sp>
        <p:nvSpPr>
          <p:cNvPr id="3" name="Inhaltsplatzhalter 2">
            <a:extLst>
              <a:ext uri="{FF2B5EF4-FFF2-40B4-BE49-F238E27FC236}">
                <a16:creationId xmlns:a16="http://schemas.microsoft.com/office/drawing/2014/main" id="{9768B684-4D3F-4DAB-4378-A924888681F0}"/>
              </a:ext>
            </a:extLst>
          </p:cNvPr>
          <p:cNvSpPr>
            <a:spLocks noGrp="1"/>
          </p:cNvSpPr>
          <p:nvPr>
            <p:ph sz="quarter" idx="19"/>
          </p:nvPr>
        </p:nvSpPr>
        <p:spPr/>
        <p:txBody>
          <a:bodyPr/>
          <a:lstStyle/>
          <a:p>
            <a:pPr marL="285750" indent="-285750">
              <a:buFont typeface="Wingdings" panose="05000000000000000000" pitchFamily="2" charset="2"/>
              <a:buChar char="§"/>
              <a:defRPr/>
            </a:pPr>
            <a:r>
              <a:rPr lang="de-DE" altLang="de-DE" dirty="0">
                <a:latin typeface="Calibri" charset="0"/>
                <a:ea typeface="Calibri" charset="0"/>
                <a:cs typeface="Calibri" charset="0"/>
              </a:rPr>
              <a:t>Werkzeuge (Arbeitsmittel) müssen entsprechend ihrem Einsatzort ausgewählt werden, sodass die Sicherheit und der Gesundheitsschutz der Beschäftigten gewährleistet werden:</a:t>
            </a:r>
          </a:p>
          <a:p>
            <a:pPr marL="285750" indent="-285750">
              <a:buFont typeface="Wingdings" panose="05000000000000000000" pitchFamily="2" charset="2"/>
              <a:buChar char="§"/>
              <a:defRPr/>
            </a:pPr>
            <a:r>
              <a:rPr lang="de-DE" altLang="de-DE" dirty="0">
                <a:latin typeface="Calibri" charset="0"/>
                <a:ea typeface="Calibri" charset="0"/>
                <a:cs typeface="Calibri" charset="0"/>
              </a:rPr>
              <a:t>Auf Baustellen sind nur solche Arbeitsmittel einzusetzen, die für die Witterungsverhältnisse zum Arbeiten im Freien geeignet sind.</a:t>
            </a:r>
          </a:p>
          <a:p>
            <a:pPr marL="285750" indent="-285750">
              <a:buFont typeface="Wingdings" panose="05000000000000000000" pitchFamily="2" charset="2"/>
              <a:buChar char="§"/>
              <a:defRPr/>
            </a:pPr>
            <a:r>
              <a:rPr lang="de-DE" altLang="de-DE" dirty="0">
                <a:latin typeface="Calibri" charset="0"/>
                <a:ea typeface="Calibri" charset="0"/>
                <a:cs typeface="Calibri" charset="0"/>
              </a:rPr>
              <a:t>Bei Arbeiten an elektrischen Anlagen und Betriebsmitteln (Geräte) dürfen nur entsprechend isolierte Handwerkzeuge benutzt werden.</a:t>
            </a:r>
          </a:p>
          <a:p>
            <a:pPr marL="285750" indent="-285750">
              <a:buFont typeface="Wingdings" panose="05000000000000000000" pitchFamily="2" charset="2"/>
              <a:buChar char="§"/>
              <a:defRPr/>
            </a:pPr>
            <a:r>
              <a:rPr lang="de-DE" altLang="de-DE" dirty="0">
                <a:latin typeface="Calibri" charset="0"/>
                <a:ea typeface="Calibri" charset="0"/>
                <a:cs typeface="Calibri" charset="0"/>
              </a:rPr>
              <a:t>Bei Arbeiten in explosionsgefährdeten Bereichen dürfen nur funkenarme Handwerkzeuge bzw. explosionsgeschützte Arbeitsmittel eingesetzt werden.</a:t>
            </a:r>
          </a:p>
          <a:p>
            <a:endParaRPr lang="de-DE" dirty="0"/>
          </a:p>
        </p:txBody>
      </p:sp>
      <p:sp>
        <p:nvSpPr>
          <p:cNvPr id="4" name="Fußzeilenplatzhalter 3">
            <a:extLst>
              <a:ext uri="{FF2B5EF4-FFF2-40B4-BE49-F238E27FC236}">
                <a16:creationId xmlns:a16="http://schemas.microsoft.com/office/drawing/2014/main" id="{2ADF29B3-E77D-DDCE-7350-F6137925C8E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CCA4AA0-D71E-1929-6AA0-2E00BDAD5D32}"/>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6" name="Textplatzhalter 5">
            <a:extLst>
              <a:ext uri="{FF2B5EF4-FFF2-40B4-BE49-F238E27FC236}">
                <a16:creationId xmlns:a16="http://schemas.microsoft.com/office/drawing/2014/main" id="{5D4A659F-1226-3F9A-CA5E-60D81DF28424}"/>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12759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38559-A701-572B-62B6-FCE73BF9D1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934C886-0250-CB81-87EB-36676A378D8D}"/>
              </a:ext>
            </a:extLst>
          </p:cNvPr>
          <p:cNvSpPr>
            <a:spLocks noGrp="1"/>
          </p:cNvSpPr>
          <p:nvPr>
            <p:ph type="title"/>
          </p:nvPr>
        </p:nvSpPr>
        <p:spPr/>
        <p:txBody>
          <a:bodyPr/>
          <a:lstStyle/>
          <a:p>
            <a:r>
              <a:rPr lang="de-DE" dirty="0"/>
              <a:t>Sachgerechte Handhabung</a:t>
            </a:r>
          </a:p>
        </p:txBody>
      </p:sp>
      <p:sp>
        <p:nvSpPr>
          <p:cNvPr id="3" name="Inhaltsplatzhalter 2">
            <a:extLst>
              <a:ext uri="{FF2B5EF4-FFF2-40B4-BE49-F238E27FC236}">
                <a16:creationId xmlns:a16="http://schemas.microsoft.com/office/drawing/2014/main" id="{81CF653F-F86F-1D67-88C3-E0BBA2B7476C}"/>
              </a:ext>
            </a:extLst>
          </p:cNvPr>
          <p:cNvSpPr>
            <a:spLocks noGrp="1"/>
          </p:cNvSpPr>
          <p:nvPr>
            <p:ph sz="quarter" idx="19"/>
          </p:nvPr>
        </p:nvSpPr>
        <p:spPr>
          <a:xfrm>
            <a:off x="527051" y="1601093"/>
            <a:ext cx="8017221" cy="4495434"/>
          </a:xfrm>
        </p:spPr>
        <p:txBody>
          <a:bodyPr/>
          <a:lstStyle/>
          <a:p>
            <a:pPr>
              <a:buNone/>
              <a:defRPr/>
            </a:pPr>
            <a:r>
              <a:rPr lang="de-DE" altLang="de-DE" dirty="0">
                <a:latin typeface="Calibri" charset="0"/>
                <a:ea typeface="Calibri" charset="0"/>
                <a:cs typeface="Calibri" charset="0"/>
              </a:rPr>
              <a:t>Werkzeuge bzw. Arbeitsmittel sollten nur so verwendet werden, wie es der Arbeitgeber vorgibt. Zu beachten ist außerdem die vorgegebene </a:t>
            </a:r>
            <a:r>
              <a:rPr lang="de-DE" altLang="de-DE" b="1" dirty="0">
                <a:latin typeface="Calibri" charset="0"/>
                <a:ea typeface="Calibri" charset="0"/>
                <a:cs typeface="Calibri" charset="0"/>
              </a:rPr>
              <a:t>Betriebsanweisung </a:t>
            </a:r>
            <a:r>
              <a:rPr lang="de-DE" altLang="de-DE" dirty="0">
                <a:latin typeface="Calibri" charset="0"/>
                <a:ea typeface="Calibri" charset="0"/>
                <a:cs typeface="Calibri" charset="0"/>
              </a:rPr>
              <a:t>oder die </a:t>
            </a:r>
            <a:r>
              <a:rPr lang="de-DE" altLang="de-DE" b="1" dirty="0">
                <a:latin typeface="Calibri" charset="0"/>
                <a:ea typeface="Calibri" charset="0"/>
                <a:cs typeface="Calibri" charset="0"/>
              </a:rPr>
              <a:t>Herstellerinformationen.</a:t>
            </a:r>
            <a:endParaRPr lang="de-DE" altLang="de-DE" dirty="0">
              <a:latin typeface="Calibri" charset="0"/>
              <a:ea typeface="Calibri" charset="0"/>
              <a:cs typeface="Calibri" charset="0"/>
            </a:endParaRPr>
          </a:p>
          <a:p>
            <a:pPr>
              <a:buNone/>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Vorerst scharfe und spitze Arbeitsmittel gegen absichtslosen </a:t>
            </a:r>
            <a:r>
              <a:rPr lang="de-DE" altLang="de-DE" dirty="0">
                <a:latin typeface="Calibri" charset="0"/>
                <a:cs typeface="Calibri" charset="0"/>
              </a:rPr>
              <a:t>Kontakt</a:t>
            </a:r>
            <a:r>
              <a:rPr lang="de-DE" altLang="de-DE" dirty="0">
                <a:latin typeface="Calibri" charset="0"/>
                <a:ea typeface="Calibri" charset="0"/>
                <a:cs typeface="Calibri" charset="0"/>
              </a:rPr>
              <a:t> schützen.</a:t>
            </a: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Nicht mehr genutzte Arbeitsmittel in ihre Schutzhüllen zurückstecken, wenn erforderlich. </a:t>
            </a: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Der Zustand der Arbeitsmittel soll sowohl vor als auch nach dem Benutzen geprüft werden, um ggf. beschädigte Werkzeuge instand setzen zu lassen oder auszutauschen.</a:t>
            </a:r>
          </a:p>
          <a:p>
            <a:pPr marL="285750" indent="-285750">
              <a:buFont typeface="Wingdings" panose="05000000000000000000" pitchFamily="2" charset="2"/>
              <a:buChar char="§"/>
              <a:tabLst>
                <a:tab pos="180975" algn="l"/>
              </a:tabLst>
              <a:defRPr/>
            </a:pPr>
            <a:r>
              <a:rPr lang="de-DE" dirty="0">
                <a:latin typeface="Calibri" charset="0"/>
                <a:ea typeface="Calibri" charset="0"/>
                <a:cs typeface="Calibri" charset="0"/>
              </a:rPr>
              <a:t>Das Handwerkzeug nur in geeigneten Behältnissen zur Arbeit-/Einsatz-/Tätigkeitsstelle transportieren.</a:t>
            </a:r>
            <a:endParaRPr lang="de-DE" altLang="de-DE" dirty="0">
              <a:latin typeface="Calibri" charset="0"/>
              <a:ea typeface="Calibri" charset="0"/>
              <a:cs typeface="Calibri" charset="0"/>
            </a:endParaRPr>
          </a:p>
          <a:p>
            <a:endParaRPr lang="de-DE" dirty="0"/>
          </a:p>
        </p:txBody>
      </p:sp>
      <p:sp>
        <p:nvSpPr>
          <p:cNvPr id="4" name="Fußzeilenplatzhalter 3">
            <a:extLst>
              <a:ext uri="{FF2B5EF4-FFF2-40B4-BE49-F238E27FC236}">
                <a16:creationId xmlns:a16="http://schemas.microsoft.com/office/drawing/2014/main" id="{DB2E488A-DE0D-CDC5-8320-C92506F229B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3171D94-7AA0-7328-2FC5-F00279CA748F}"/>
              </a:ext>
            </a:extLst>
          </p:cNvPr>
          <p:cNvSpPr>
            <a:spLocks noGrp="1"/>
          </p:cNvSpPr>
          <p:nvPr>
            <p:ph type="sldNum" sz="quarter" idx="21"/>
          </p:nvPr>
        </p:nvSpPr>
        <p:spPr/>
        <p:txBody>
          <a:bodyPr/>
          <a:lstStyle/>
          <a:p>
            <a:fld id="{521AE3AC-DDCA-45D4-9B2A-A2DBEA872607}" type="slidenum">
              <a:rPr lang="de-DE" smtClean="0"/>
              <a:pPr/>
              <a:t>5</a:t>
            </a:fld>
            <a:endParaRPr lang="de-DE" dirty="0"/>
          </a:p>
        </p:txBody>
      </p:sp>
      <p:pic>
        <p:nvPicPr>
          <p:cNvPr id="7" name="Grafik 4">
            <a:extLst>
              <a:ext uri="{FF2B5EF4-FFF2-40B4-BE49-F238E27FC236}">
                <a16:creationId xmlns:a16="http://schemas.microsoft.com/office/drawing/2014/main" id="{6B148823-1522-728B-03F7-F86D1292E54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192344" y="1678949"/>
            <a:ext cx="2260902" cy="4339722"/>
          </a:xfrm>
          <a:prstGeom prst="rect">
            <a:avLst/>
          </a:prstGeom>
        </p:spPr>
      </p:pic>
    </p:spTree>
    <p:extLst>
      <p:ext uri="{BB962C8B-B14F-4D97-AF65-F5344CB8AC3E}">
        <p14:creationId xmlns:p14="http://schemas.microsoft.com/office/powerpoint/2010/main" val="2770000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9564BF1B-7A00-4FDB-9ACC-13A0BEC11AB6}" type="slidenum">
              <a:rPr lang="de-DE" smtClean="0"/>
              <a:pPr/>
              <a:t>6</a:t>
            </a:fld>
            <a:endParaRPr lang="de-DE" dirty="0"/>
          </a:p>
        </p:txBody>
      </p:sp>
      <p:sp>
        <p:nvSpPr>
          <p:cNvPr id="4" name="Fußzeilenplatzhalter 3"/>
          <p:cNvSpPr>
            <a:spLocks noGrp="1"/>
          </p:cNvSpPr>
          <p:nvPr>
            <p:ph type="ftr" sz="quarter" idx="13"/>
          </p:nvPr>
        </p:nvSpPr>
        <p:spPr/>
        <p:txBody>
          <a:bodyPr/>
          <a:lstStyle/>
          <a:p>
            <a:r>
              <a:rPr lang="de-DE" dirty="0"/>
              <a:t>© </a:t>
            </a:r>
            <a:r>
              <a:rPr lang="de-DE" dirty="0" err="1"/>
              <a:t>SafetyXperts</a:t>
            </a:r>
            <a:r>
              <a:rPr lang="de-DE" dirty="0"/>
              <a:t> - Unterweisung Plus</a:t>
            </a:r>
          </a:p>
        </p:txBody>
      </p:sp>
      <p:pic>
        <p:nvPicPr>
          <p:cNvPr id="7" name="Picture 20" descr="Bild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84849" y="1613200"/>
            <a:ext cx="3676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1" descr="Bild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64434" y="2755106"/>
            <a:ext cx="3681413" cy="134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2" descr="Bild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5359" y="4441894"/>
            <a:ext cx="366712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0">
            <a:extLst>
              <a:ext uri="{FF2B5EF4-FFF2-40B4-BE49-F238E27FC236}">
                <a16:creationId xmlns:a16="http://schemas.microsoft.com/office/drawing/2014/main" id="{B4A91CA7-B417-4819-9B55-59E5B530C749}"/>
              </a:ext>
            </a:extLst>
          </p:cNvPr>
          <p:cNvPicPr>
            <a:picLocks noChangeAspect="1"/>
          </p:cNvPicPr>
          <p:nvPr/>
        </p:nvPicPr>
        <p:blipFill>
          <a:blip r:embed="rId6" cstate="print"/>
          <a:stretch>
            <a:fillRect/>
          </a:stretch>
        </p:blipFill>
        <p:spPr>
          <a:xfrm>
            <a:off x="9823174" y="5911197"/>
            <a:ext cx="609653" cy="213378"/>
          </a:xfrm>
          <a:prstGeom prst="rect">
            <a:avLst/>
          </a:prstGeom>
        </p:spPr>
      </p:pic>
      <p:sp>
        <p:nvSpPr>
          <p:cNvPr id="6" name="Inhaltsplatzhalter 2">
            <a:extLst>
              <a:ext uri="{FF2B5EF4-FFF2-40B4-BE49-F238E27FC236}">
                <a16:creationId xmlns:a16="http://schemas.microsoft.com/office/drawing/2014/main" id="{C8149CCE-BC6D-BDE4-7D8C-A39B33D430DF}"/>
              </a:ext>
            </a:extLst>
          </p:cNvPr>
          <p:cNvSpPr txBox="1">
            <a:spLocks/>
          </p:cNvSpPr>
          <p:nvPr/>
        </p:nvSpPr>
        <p:spPr>
          <a:xfrm>
            <a:off x="644181" y="2029910"/>
            <a:ext cx="6747964" cy="3991378"/>
          </a:xfrm>
          <a:prstGeom prst="rect">
            <a:avLst/>
          </a:prstGeom>
        </p:spPr>
        <p:txBody>
          <a:bodyPr/>
          <a:lst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a:lstStyle>
          <a:p>
            <a:pPr>
              <a:tabLst>
                <a:tab pos="180975" algn="l"/>
              </a:tabLst>
              <a:defRPr/>
            </a:pPr>
            <a:r>
              <a:rPr lang="de-DE" altLang="de-DE" b="1" dirty="0">
                <a:latin typeface="Calibri" charset="0"/>
                <a:ea typeface="Calibri" charset="0"/>
                <a:cs typeface="Calibri" charset="0"/>
              </a:rPr>
              <a:t>Nur geeigneten Hammer einsetzen! Daher bitte prüfen:</a:t>
            </a:r>
          </a:p>
          <a:p>
            <a:pP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Der Hammerkopf ist mit dem Hammerstiel fest verbunden. </a:t>
            </a: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Außerdem sitzt dieser fest und gut angeordnet.</a:t>
            </a: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Wurde bei einem Kantenbruch regelmäßig nachgeschliffen? Dies muss der Fall sein!</a:t>
            </a: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Ist der Hammerstiel fett- und ölfrei und liegt gut in der Hand?</a:t>
            </a:r>
          </a:p>
          <a:p>
            <a:pPr>
              <a:buNone/>
              <a:tabLst>
                <a:tab pos="180975" algn="l"/>
              </a:tabLst>
              <a:defRPr/>
            </a:pPr>
            <a:endParaRPr lang="de-DE" altLang="de-DE" dirty="0">
              <a:latin typeface="Calibri" charset="0"/>
              <a:ea typeface="Calibri" charset="0"/>
              <a:cs typeface="Calibri" charset="0"/>
            </a:endParaRPr>
          </a:p>
          <a:p>
            <a:pPr>
              <a:buNone/>
              <a:tabLst>
                <a:tab pos="180975" algn="l"/>
              </a:tabLst>
              <a:defRPr/>
            </a:pPr>
            <a:r>
              <a:rPr lang="de-DE" altLang="de-DE" b="1" dirty="0">
                <a:latin typeface="Calibri" charset="0"/>
                <a:ea typeface="Calibri" charset="0"/>
                <a:cs typeface="Calibri" charset="0"/>
              </a:rPr>
              <a:t>Beachten:</a:t>
            </a:r>
          </a:p>
          <a:p>
            <a:pPr>
              <a:buNone/>
              <a:tabLst>
                <a:tab pos="180975" algn="l"/>
              </a:tabLst>
              <a:defRPr/>
            </a:pPr>
            <a:r>
              <a:rPr lang="de-DE" altLang="de-DE" dirty="0">
                <a:latin typeface="Calibri" charset="0"/>
                <a:ea typeface="Calibri" charset="0"/>
                <a:cs typeface="Calibri" charset="0"/>
              </a:rPr>
              <a:t>Die einzuschlagenden Nägel sind dicht am Nagelkopf zu halten</a:t>
            </a:r>
            <a:endParaRPr lang="de-DE" dirty="0"/>
          </a:p>
        </p:txBody>
      </p:sp>
      <p:sp>
        <p:nvSpPr>
          <p:cNvPr id="13" name="Title 1">
            <a:extLst>
              <a:ext uri="{FF2B5EF4-FFF2-40B4-BE49-F238E27FC236}">
                <a16:creationId xmlns:a16="http://schemas.microsoft.com/office/drawing/2014/main" id="{A6782434-E5E3-484C-4270-318CBF4B9507}"/>
              </a:ext>
            </a:extLst>
          </p:cNvPr>
          <p:cNvSpPr>
            <a:spLocks noGrp="1"/>
          </p:cNvSpPr>
          <p:nvPr>
            <p:ph type="title"/>
          </p:nvPr>
        </p:nvSpPr>
        <p:spPr>
          <a:xfrm>
            <a:off x="525600" y="673200"/>
            <a:ext cx="9121320" cy="360000"/>
          </a:xfrm>
        </p:spPr>
        <p:txBody>
          <a:bodyPr/>
          <a:lstStyle/>
          <a:p>
            <a:r>
              <a:rPr lang="de-DE" dirty="0"/>
              <a:t>Hammer</a:t>
            </a:r>
            <a:endParaRPr lang="en-US" dirty="0"/>
          </a:p>
        </p:txBody>
      </p:sp>
    </p:spTree>
    <p:extLst>
      <p:ext uri="{BB962C8B-B14F-4D97-AF65-F5344CB8AC3E}">
        <p14:creationId xmlns:p14="http://schemas.microsoft.com/office/powerpoint/2010/main" val="771151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93C5CC-BEEC-1CC2-31ED-721FD3782743}"/>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ACF3544-A6EC-BBA4-5C76-6C1464264122}"/>
              </a:ext>
            </a:extLst>
          </p:cNvPr>
          <p:cNvSpPr>
            <a:spLocks noGrp="1"/>
          </p:cNvSpPr>
          <p:nvPr>
            <p:ph type="sldNum" sz="quarter" idx="12"/>
          </p:nvPr>
        </p:nvSpPr>
        <p:spPr/>
        <p:txBody>
          <a:bodyPr/>
          <a:lstStyle/>
          <a:p>
            <a:fld id="{9564BF1B-7A00-4FDB-9ACC-13A0BEC11AB6}" type="slidenum">
              <a:rPr lang="de-DE" smtClean="0"/>
              <a:pPr/>
              <a:t>7</a:t>
            </a:fld>
            <a:endParaRPr lang="de-DE" dirty="0"/>
          </a:p>
        </p:txBody>
      </p:sp>
      <p:sp>
        <p:nvSpPr>
          <p:cNvPr id="4" name="Fußzeilenplatzhalter 3">
            <a:extLst>
              <a:ext uri="{FF2B5EF4-FFF2-40B4-BE49-F238E27FC236}">
                <a16:creationId xmlns:a16="http://schemas.microsoft.com/office/drawing/2014/main" id="{A190EBCA-C368-3D32-FF70-E52ADA354159}"/>
              </a:ext>
            </a:extLst>
          </p:cNvPr>
          <p:cNvSpPr>
            <a:spLocks noGrp="1"/>
          </p:cNvSpPr>
          <p:nvPr>
            <p:ph type="ftr" sz="quarter" idx="13"/>
          </p:nvPr>
        </p:nvSpPr>
        <p:spPr/>
        <p:txBody>
          <a:bodyPr/>
          <a:lstStyle/>
          <a:p>
            <a:r>
              <a:rPr lang="de-DE" dirty="0"/>
              <a:t>© </a:t>
            </a:r>
            <a:r>
              <a:rPr lang="de-DE" dirty="0" err="1"/>
              <a:t>SafetyXperts</a:t>
            </a:r>
            <a:r>
              <a:rPr lang="de-DE" dirty="0"/>
              <a:t> - Unterweisung Plus</a:t>
            </a:r>
          </a:p>
        </p:txBody>
      </p:sp>
      <p:sp>
        <p:nvSpPr>
          <p:cNvPr id="6" name="Inhaltsplatzhalter 2">
            <a:extLst>
              <a:ext uri="{FF2B5EF4-FFF2-40B4-BE49-F238E27FC236}">
                <a16:creationId xmlns:a16="http://schemas.microsoft.com/office/drawing/2014/main" id="{884D1C7D-FB79-C494-A628-CD61DADEFB68}"/>
              </a:ext>
            </a:extLst>
          </p:cNvPr>
          <p:cNvSpPr txBox="1">
            <a:spLocks/>
          </p:cNvSpPr>
          <p:nvPr/>
        </p:nvSpPr>
        <p:spPr>
          <a:xfrm>
            <a:off x="644180" y="2029910"/>
            <a:ext cx="8017221" cy="4495434"/>
          </a:xfrm>
          <a:prstGeom prst="rect">
            <a:avLst/>
          </a:prstGeom>
        </p:spPr>
        <p:txBody>
          <a:bodyPr/>
          <a:lst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a:lstStyle>
          <a:p>
            <a:pPr>
              <a:tabLst>
                <a:tab pos="180975" algn="l"/>
              </a:tabLst>
              <a:defRPr/>
            </a:pPr>
            <a:r>
              <a:rPr lang="de-DE" altLang="de-DE" dirty="0"/>
              <a:t>Der Klassiker unter den gängigen Arten von Hämmern ist der Schlosserhammer. Dieser wird a</a:t>
            </a:r>
            <a:r>
              <a:rPr lang="de-DE" dirty="0"/>
              <a:t>m häufigsten zum Einschlagen von Dübeln oder Nägeln eingesetzt </a:t>
            </a:r>
            <a:r>
              <a:rPr lang="de-DE" sz="1800" dirty="0">
                <a:solidFill>
                  <a:srgbClr val="FF0000"/>
                </a:solidFill>
              </a:rPr>
              <a:t>oder </a:t>
            </a:r>
            <a:r>
              <a:rPr lang="de-DE" sz="1800" dirty="0"/>
              <a:t>zum Treiben einer Buchse bzw. Lagerhülse</a:t>
            </a:r>
            <a:r>
              <a:rPr lang="de-DE" dirty="0"/>
              <a:t>.</a:t>
            </a:r>
          </a:p>
          <a:p>
            <a:pPr>
              <a:tabLst>
                <a:tab pos="180975" algn="l"/>
              </a:tabLst>
              <a:defRPr/>
            </a:pPr>
            <a:endParaRPr lang="de-DE" dirty="0"/>
          </a:p>
          <a:p>
            <a:pPr>
              <a:buNone/>
              <a:tabLst>
                <a:tab pos="180975" algn="l"/>
              </a:tabLst>
              <a:defRPr/>
            </a:pPr>
            <a:endParaRPr lang="de-DE" dirty="0"/>
          </a:p>
          <a:p>
            <a:pPr>
              <a:tabLst>
                <a:tab pos="180975" algn="l"/>
              </a:tabLst>
              <a:defRPr/>
            </a:pPr>
            <a:r>
              <a:rPr lang="de-DE" dirty="0"/>
              <a:t>Der Gummihammer wird zum Festklopfen von Kunststoff, Stein oder Holz verwendet, da sonst mit einem Schlosserhammer das Werkstück beschädigt wird. </a:t>
            </a:r>
          </a:p>
          <a:p>
            <a:pPr>
              <a:tabLst>
                <a:tab pos="180975" algn="l"/>
              </a:tabLst>
              <a:defRPr/>
            </a:pPr>
            <a:endParaRPr lang="de-DE" dirty="0"/>
          </a:p>
          <a:p>
            <a:pPr>
              <a:buNone/>
              <a:tabLst>
                <a:tab pos="180975" algn="l"/>
              </a:tabLst>
              <a:defRPr/>
            </a:pPr>
            <a:endParaRPr lang="de-DE" dirty="0"/>
          </a:p>
          <a:p>
            <a:pPr>
              <a:tabLst>
                <a:tab pos="180975" algn="l"/>
              </a:tabLst>
              <a:defRPr/>
            </a:pPr>
            <a:r>
              <a:rPr lang="de-DE" dirty="0"/>
              <a:t>Besonders vom Steinmetz wird der Fäustel als Schlagwerkzeig eingesetzt.</a:t>
            </a:r>
          </a:p>
          <a:p>
            <a:endParaRPr lang="de-DE" dirty="0"/>
          </a:p>
        </p:txBody>
      </p:sp>
      <p:sp>
        <p:nvSpPr>
          <p:cNvPr id="13" name="Title 1">
            <a:extLst>
              <a:ext uri="{FF2B5EF4-FFF2-40B4-BE49-F238E27FC236}">
                <a16:creationId xmlns:a16="http://schemas.microsoft.com/office/drawing/2014/main" id="{FEBCE093-ECFD-59CB-B39E-D6E87610FC39}"/>
              </a:ext>
            </a:extLst>
          </p:cNvPr>
          <p:cNvSpPr>
            <a:spLocks noGrp="1"/>
          </p:cNvSpPr>
          <p:nvPr>
            <p:ph type="title"/>
          </p:nvPr>
        </p:nvSpPr>
        <p:spPr>
          <a:xfrm>
            <a:off x="525600" y="673200"/>
            <a:ext cx="9121320" cy="360000"/>
          </a:xfrm>
        </p:spPr>
        <p:txBody>
          <a:bodyPr/>
          <a:lstStyle/>
          <a:p>
            <a:r>
              <a:rPr lang="de-DE" dirty="0"/>
              <a:t>Welchen </a:t>
            </a:r>
            <a:r>
              <a:rPr lang="de-DE" dirty="0" err="1"/>
              <a:t>hammer</a:t>
            </a:r>
            <a:r>
              <a:rPr lang="de-DE" dirty="0"/>
              <a:t> wofür einsetzen?</a:t>
            </a:r>
            <a:endParaRPr lang="en-US" dirty="0"/>
          </a:p>
        </p:txBody>
      </p:sp>
      <p:pic>
        <p:nvPicPr>
          <p:cNvPr id="14" name="Grafik 13">
            <a:extLst>
              <a:ext uri="{FF2B5EF4-FFF2-40B4-BE49-F238E27FC236}">
                <a16:creationId xmlns:a16="http://schemas.microsoft.com/office/drawing/2014/main" id="{069285C0-4368-4E33-8683-6CBDEF887A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91694" y="2574104"/>
            <a:ext cx="3063654" cy="2046521"/>
          </a:xfrm>
          <a:prstGeom prst="rect">
            <a:avLst/>
          </a:prstGeom>
        </p:spPr>
      </p:pic>
      <p:pic>
        <p:nvPicPr>
          <p:cNvPr id="12" name="Grafik 11">
            <a:extLst>
              <a:ext uri="{FF2B5EF4-FFF2-40B4-BE49-F238E27FC236}">
                <a16:creationId xmlns:a16="http://schemas.microsoft.com/office/drawing/2014/main" id="{885EC4C0-B322-48A7-B8F3-379C2C3FA7B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00951" y="1268760"/>
            <a:ext cx="2793449" cy="1866024"/>
          </a:xfrm>
          <a:prstGeom prst="rect">
            <a:avLst/>
          </a:prstGeom>
        </p:spPr>
      </p:pic>
      <p:pic>
        <p:nvPicPr>
          <p:cNvPr id="16" name="Grafik 15">
            <a:extLst>
              <a:ext uri="{FF2B5EF4-FFF2-40B4-BE49-F238E27FC236}">
                <a16:creationId xmlns:a16="http://schemas.microsoft.com/office/drawing/2014/main" id="{A7038C49-D7C2-4AC1-8644-036F975E5EC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7870" y="4300814"/>
            <a:ext cx="2544279" cy="1699578"/>
          </a:xfrm>
          <a:prstGeom prst="rect">
            <a:avLst/>
          </a:prstGeom>
        </p:spPr>
      </p:pic>
      <p:pic>
        <p:nvPicPr>
          <p:cNvPr id="2" name="Grafik 1">
            <a:extLst>
              <a:ext uri="{FF2B5EF4-FFF2-40B4-BE49-F238E27FC236}">
                <a16:creationId xmlns:a16="http://schemas.microsoft.com/office/drawing/2014/main" id="{51FF3832-72B0-4C0F-9BA4-5CFCD457A71E}"/>
              </a:ext>
            </a:extLst>
          </p:cNvPr>
          <p:cNvPicPr>
            <a:picLocks noChangeAspect="1"/>
          </p:cNvPicPr>
          <p:nvPr/>
        </p:nvPicPr>
        <p:blipFill>
          <a:blip r:embed="rId6" cstate="print"/>
          <a:stretch>
            <a:fillRect/>
          </a:stretch>
        </p:blipFill>
        <p:spPr>
          <a:xfrm>
            <a:off x="10612496" y="5808263"/>
            <a:ext cx="609653" cy="213378"/>
          </a:xfrm>
          <a:prstGeom prst="rect">
            <a:avLst/>
          </a:prstGeom>
        </p:spPr>
      </p:pic>
    </p:spTree>
    <p:extLst>
      <p:ext uri="{BB962C8B-B14F-4D97-AF65-F5344CB8AC3E}">
        <p14:creationId xmlns:p14="http://schemas.microsoft.com/office/powerpoint/2010/main" val="1177073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C0C048B-CCCD-D92A-0C61-D3A5F55D0505}"/>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6DC3CA6-D493-6DD3-4883-C6BFB9A51E84}"/>
              </a:ext>
            </a:extLst>
          </p:cNvPr>
          <p:cNvSpPr>
            <a:spLocks noGrp="1"/>
          </p:cNvSpPr>
          <p:nvPr>
            <p:ph type="sldNum" sz="quarter" idx="12"/>
          </p:nvPr>
        </p:nvSpPr>
        <p:spPr/>
        <p:txBody>
          <a:bodyPr/>
          <a:lstStyle/>
          <a:p>
            <a:fld id="{9564BF1B-7A00-4FDB-9ACC-13A0BEC11AB6}" type="slidenum">
              <a:rPr lang="de-DE" smtClean="0"/>
              <a:pPr/>
              <a:t>8</a:t>
            </a:fld>
            <a:endParaRPr lang="de-DE" dirty="0"/>
          </a:p>
        </p:txBody>
      </p:sp>
      <p:sp>
        <p:nvSpPr>
          <p:cNvPr id="6" name="Inhaltsplatzhalter 2">
            <a:extLst>
              <a:ext uri="{FF2B5EF4-FFF2-40B4-BE49-F238E27FC236}">
                <a16:creationId xmlns:a16="http://schemas.microsoft.com/office/drawing/2014/main" id="{EC555718-A545-E66A-3005-9A794E03EBAD}"/>
              </a:ext>
            </a:extLst>
          </p:cNvPr>
          <p:cNvSpPr txBox="1">
            <a:spLocks/>
          </p:cNvSpPr>
          <p:nvPr/>
        </p:nvSpPr>
        <p:spPr>
          <a:xfrm>
            <a:off x="432762" y="1661147"/>
            <a:ext cx="8017221" cy="4495434"/>
          </a:xfrm>
          <a:prstGeom prst="rect">
            <a:avLst/>
          </a:prstGeom>
        </p:spPr>
        <p:txBody>
          <a:bodyPr/>
          <a:lst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a:lstStyle>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Schlagende </a:t>
            </a:r>
            <a:r>
              <a:rPr lang="de-DE" altLang="de-DE" sz="1800" dirty="0">
                <a:latin typeface="Calibri" charset="0"/>
                <a:ea typeface="Calibri" charset="0"/>
                <a:cs typeface="Calibri" charset="0"/>
              </a:rPr>
              <a:t>(</a:t>
            </a:r>
            <a:r>
              <a:rPr lang="de-DE" altLang="de-DE" sz="1800" dirty="0" err="1">
                <a:latin typeface="Calibri" charset="0"/>
                <a:ea typeface="Calibri" charset="0"/>
                <a:cs typeface="Calibri" charset="0"/>
              </a:rPr>
              <a:t>meißel</a:t>
            </a:r>
            <a:r>
              <a:rPr lang="de-DE" altLang="de-DE" sz="1800" dirty="0">
                <a:latin typeface="Calibri" charset="0"/>
                <a:ea typeface="Calibri" charset="0"/>
                <a:cs typeface="Calibri" charset="0"/>
              </a:rPr>
              <a:t>- bzw. Treiberkopf) </a:t>
            </a:r>
            <a:r>
              <a:rPr lang="de-DE" altLang="de-DE" dirty="0">
                <a:latin typeface="Calibri" charset="0"/>
                <a:ea typeface="Calibri" charset="0"/>
                <a:cs typeface="Calibri" charset="0"/>
              </a:rPr>
              <a:t>darf keinen Grat aufweis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Schlagende ist öl- und fettfrei zu halt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Keilwinkel der </a:t>
            </a:r>
            <a:r>
              <a:rPr lang="de-DE" altLang="de-DE" dirty="0" err="1">
                <a:latin typeface="Calibri" charset="0"/>
                <a:ea typeface="Calibri" charset="0"/>
                <a:cs typeface="Calibri" charset="0"/>
              </a:rPr>
              <a:t>Meißelscheide</a:t>
            </a:r>
            <a:r>
              <a:rPr lang="de-DE" altLang="de-DE" dirty="0">
                <a:latin typeface="Calibri" charset="0"/>
                <a:ea typeface="Calibri" charset="0"/>
                <a:cs typeface="Calibri" charset="0"/>
              </a:rPr>
              <a:t> muss für die Bearbeitung des Werkstücks geeignet sei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Handschutz beim Arbeiten benutz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Beim Meißeln keine anderen Personen gefährd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Meißel fest umfassen.</a:t>
            </a:r>
          </a:p>
          <a:p>
            <a:pPr marL="285750" indent="-285750">
              <a:spcAft>
                <a:spcPts val="600"/>
              </a:spcAft>
              <a:buFont typeface="Wingdings" panose="05000000000000000000" pitchFamily="2" charset="2"/>
              <a:buChar char="§"/>
              <a:tabLst>
                <a:tab pos="180975" algn="l"/>
              </a:tabLst>
              <a:defRPr/>
            </a:pPr>
            <a:r>
              <a:rPr lang="de-DE" altLang="de-DE" dirty="0">
                <a:latin typeface="Calibri" charset="0"/>
                <a:ea typeface="Calibri" charset="0"/>
                <a:cs typeface="Calibri" charset="0"/>
              </a:rPr>
              <a:t>Blick auf die </a:t>
            </a:r>
            <a:r>
              <a:rPr lang="de-DE" altLang="de-DE" dirty="0" err="1">
                <a:latin typeface="Calibri" charset="0"/>
                <a:ea typeface="Calibri" charset="0"/>
                <a:cs typeface="Calibri" charset="0"/>
              </a:rPr>
              <a:t>Meißelscheide</a:t>
            </a:r>
            <a:r>
              <a:rPr lang="de-DE" altLang="de-DE" dirty="0">
                <a:latin typeface="Calibri" charset="0"/>
                <a:ea typeface="Calibri" charset="0"/>
                <a:cs typeface="Calibri" charset="0"/>
              </a:rPr>
              <a:t> richten, je nach zu bearbeitendem Werkstück ggf. Schutzbrille tragen.</a:t>
            </a:r>
          </a:p>
          <a:p>
            <a:endParaRPr lang="de-DE" dirty="0"/>
          </a:p>
        </p:txBody>
      </p:sp>
      <p:sp>
        <p:nvSpPr>
          <p:cNvPr id="13" name="Title 1">
            <a:extLst>
              <a:ext uri="{FF2B5EF4-FFF2-40B4-BE49-F238E27FC236}">
                <a16:creationId xmlns:a16="http://schemas.microsoft.com/office/drawing/2014/main" id="{FB671D38-48A1-2E33-D4AF-129FDAC083FC}"/>
              </a:ext>
            </a:extLst>
          </p:cNvPr>
          <p:cNvSpPr>
            <a:spLocks noGrp="1"/>
          </p:cNvSpPr>
          <p:nvPr>
            <p:ph type="title"/>
          </p:nvPr>
        </p:nvSpPr>
        <p:spPr>
          <a:xfrm>
            <a:off x="525600" y="673200"/>
            <a:ext cx="9121320" cy="360000"/>
          </a:xfrm>
        </p:spPr>
        <p:txBody>
          <a:bodyPr/>
          <a:lstStyle/>
          <a:p>
            <a:r>
              <a:rPr lang="de-DE" dirty="0"/>
              <a:t>Meißel</a:t>
            </a:r>
            <a:endParaRPr lang="en-US" dirty="0"/>
          </a:p>
        </p:txBody>
      </p:sp>
      <p:pic>
        <p:nvPicPr>
          <p:cNvPr id="2" name="Grafik 1">
            <a:extLst>
              <a:ext uri="{FF2B5EF4-FFF2-40B4-BE49-F238E27FC236}">
                <a16:creationId xmlns:a16="http://schemas.microsoft.com/office/drawing/2014/main" id="{4BC669DF-8F25-58E8-C2A8-C19128CCCC90}"/>
              </a:ext>
            </a:extLst>
          </p:cNvPr>
          <p:cNvPicPr>
            <a:picLocks noChangeAspect="1"/>
          </p:cNvPicPr>
          <p:nvPr/>
        </p:nvPicPr>
        <p:blipFill>
          <a:blip r:embed="rId3" cstate="print"/>
          <a:stretch>
            <a:fillRect/>
          </a:stretch>
        </p:blipFill>
        <p:spPr>
          <a:xfrm>
            <a:off x="10612496" y="5808263"/>
            <a:ext cx="609653" cy="213378"/>
          </a:xfrm>
          <a:prstGeom prst="rect">
            <a:avLst/>
          </a:prstGeom>
        </p:spPr>
      </p:pic>
      <p:pic>
        <p:nvPicPr>
          <p:cNvPr id="10" name="Picture 14" descr="Meiße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49983" y="1393658"/>
            <a:ext cx="3119437" cy="453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Bild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10470" y="5219601"/>
            <a:ext cx="935819" cy="967649"/>
          </a:xfrm>
          <a:prstGeom prst="rect">
            <a:avLst/>
          </a:prstGeom>
        </p:spPr>
      </p:pic>
    </p:spTree>
    <p:extLst>
      <p:ext uri="{BB962C8B-B14F-4D97-AF65-F5344CB8AC3E}">
        <p14:creationId xmlns:p14="http://schemas.microsoft.com/office/powerpoint/2010/main" val="3128504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Werkzeug muss zu dem Material des Werkstücks passen.</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Heft (Griff) ist öl- und fettfrei zu halten.</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Heft (Griff) muss fest auf der </a:t>
            </a:r>
            <a:r>
              <a:rPr lang="de-DE" altLang="de-DE" dirty="0" err="1">
                <a:latin typeface="Calibri" charset="0"/>
                <a:ea typeface="Calibri" charset="0"/>
                <a:cs typeface="Calibri" charset="0"/>
              </a:rPr>
              <a:t>Feilenangel</a:t>
            </a:r>
            <a:r>
              <a:rPr lang="de-DE" altLang="de-DE" dirty="0">
                <a:latin typeface="Calibri" charset="0"/>
                <a:ea typeface="Calibri" charset="0"/>
                <a:cs typeface="Calibri" charset="0"/>
              </a:rPr>
              <a:t> sitzen.</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Die Arbeitsbewegung muss langsam und gleichmäßig ausgeführt werden. </a:t>
            </a:r>
          </a:p>
          <a:p>
            <a:pPr marL="285750" indent="-285750">
              <a:buFont typeface="Wingdings" panose="05000000000000000000" pitchFamily="2" charset="2"/>
              <a:buChar char="§"/>
              <a:tabLst>
                <a:tab pos="180975" algn="l"/>
              </a:tabLst>
              <a:defRPr/>
            </a:pPr>
            <a:endParaRPr lang="de-DE" altLang="de-DE" dirty="0">
              <a:latin typeface="Calibri" charset="0"/>
              <a:ea typeface="Calibri" charset="0"/>
              <a:cs typeface="Calibri" charset="0"/>
            </a:endParaRPr>
          </a:p>
          <a:p>
            <a:pPr marL="285750" indent="-285750">
              <a:buFont typeface="Wingdings" panose="05000000000000000000" pitchFamily="2" charset="2"/>
              <a:buChar char="§"/>
              <a:tabLst>
                <a:tab pos="180975" algn="l"/>
              </a:tabLst>
              <a:defRPr/>
            </a:pPr>
            <a:r>
              <a:rPr lang="de-DE" altLang="de-DE" dirty="0">
                <a:latin typeface="Calibri" charset="0"/>
                <a:ea typeface="Calibri" charset="0"/>
                <a:cs typeface="Calibri" charset="0"/>
              </a:rPr>
              <a:t>Die Ausführung von Feilen und Raspeln erfolgt mit beiden Händen. Raspeln werden i.d.R. nur noch im Werkunterricht an Schulen verwendet.</a:t>
            </a:r>
          </a:p>
          <a:p>
            <a:pPr>
              <a:tabLst>
                <a:tab pos="180975" algn="l"/>
              </a:tabLst>
              <a:defRPr/>
            </a:pPr>
            <a:endParaRPr lang="de-DE" altLang="de-DE" dirty="0">
              <a:latin typeface="Calibri" charset="0"/>
              <a:ea typeface="Calibri" charset="0"/>
              <a:cs typeface="Calibri" charset="0"/>
            </a:endParaRPr>
          </a:p>
        </p:txBody>
      </p:sp>
      <p:sp>
        <p:nvSpPr>
          <p:cNvPr id="4" name="Fußzeilenplatzhalter 3"/>
          <p:cNvSpPr>
            <a:spLocks noGrp="1"/>
          </p:cNvSpPr>
          <p:nvPr>
            <p:ph type="ftr" sz="quarter" idx="19"/>
          </p:nvPr>
        </p:nvSpPr>
        <p:spPr/>
        <p:txBody>
          <a:bodyPr/>
          <a:lstStyle/>
          <a:p>
            <a:r>
              <a:rPr lang="de-DE" dirty="0"/>
              <a:t>© </a:t>
            </a:r>
            <a:r>
              <a:rPr lang="de-DE" dirty="0" err="1"/>
              <a:t>SafetyXperts</a:t>
            </a:r>
            <a:r>
              <a:rPr lang="de-DE" dirty="0"/>
              <a:t> - Unterweisung Plus</a:t>
            </a:r>
          </a:p>
        </p:txBody>
      </p:sp>
      <p:sp>
        <p:nvSpPr>
          <p:cNvPr id="3" name="Foliennummernplatzhalter 2"/>
          <p:cNvSpPr>
            <a:spLocks noGrp="1"/>
          </p:cNvSpPr>
          <p:nvPr>
            <p:ph type="sldNum" sz="quarter" idx="20"/>
          </p:nvPr>
        </p:nvSpPr>
        <p:spPr/>
        <p:txBody>
          <a:bodyPr/>
          <a:lstStyle/>
          <a:p>
            <a:fld id="{9564BF1B-7A00-4FDB-9ACC-13A0BEC11AB6}" type="slidenum">
              <a:rPr lang="de-DE" smtClean="0"/>
              <a:pPr/>
              <a:t>9</a:t>
            </a:fld>
            <a:endParaRPr lang="de-DE" dirty="0"/>
          </a:p>
        </p:txBody>
      </p:sp>
      <p:sp>
        <p:nvSpPr>
          <p:cNvPr id="5" name="Titel 4"/>
          <p:cNvSpPr>
            <a:spLocks noGrp="1"/>
          </p:cNvSpPr>
          <p:nvPr>
            <p:ph type="title"/>
          </p:nvPr>
        </p:nvSpPr>
        <p:spPr/>
        <p:txBody>
          <a:bodyPr/>
          <a:lstStyle/>
          <a:p>
            <a:r>
              <a:rPr lang="de-DE" dirty="0"/>
              <a:t>Feilen, Raspeln</a:t>
            </a:r>
          </a:p>
        </p:txBody>
      </p:sp>
      <p:pic>
        <p:nvPicPr>
          <p:cNvPr id="8" name="Grafik 7">
            <a:extLst>
              <a:ext uri="{FF2B5EF4-FFF2-40B4-BE49-F238E27FC236}">
                <a16:creationId xmlns:a16="http://schemas.microsoft.com/office/drawing/2014/main" id="{B6426CF4-3FF3-4C32-BB72-F675A81430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547335" y="2236837"/>
            <a:ext cx="4975225" cy="3223946"/>
          </a:xfrm>
          <a:prstGeom prst="rect">
            <a:avLst/>
          </a:prstGeom>
        </p:spPr>
      </p:pic>
      <p:sp>
        <p:nvSpPr>
          <p:cNvPr id="7" name="Rechteck 6">
            <a:extLst>
              <a:ext uri="{FF2B5EF4-FFF2-40B4-BE49-F238E27FC236}">
                <a16:creationId xmlns:a16="http://schemas.microsoft.com/office/drawing/2014/main" id="{7F4CB6F7-9CFC-490C-8E40-00C5A85DDFCD}"/>
              </a:ext>
            </a:extLst>
          </p:cNvPr>
          <p:cNvSpPr/>
          <p:nvPr/>
        </p:nvSpPr>
        <p:spPr>
          <a:xfrm>
            <a:off x="9408368" y="5805264"/>
            <a:ext cx="670376" cy="215444"/>
          </a:xfrm>
          <a:prstGeom prst="rect">
            <a:avLst/>
          </a:prstGeom>
        </p:spPr>
        <p:txBody>
          <a:bodyPr wrap="none">
            <a:spAutoFit/>
          </a:bodyPr>
          <a:lstStyle/>
          <a:p>
            <a:pPr lvl="0"/>
            <a:r>
              <a:rPr lang="de-DE" sz="800" dirty="0">
                <a:solidFill>
                  <a:prstClr val="black">
                    <a:lumMod val="50000"/>
                    <a:lumOff val="50000"/>
                  </a:prstClr>
                </a:solidFill>
              </a:rPr>
              <a:t>© S. Specht</a:t>
            </a:r>
          </a:p>
        </p:txBody>
      </p:sp>
    </p:spTree>
    <p:extLst>
      <p:ext uri="{BB962C8B-B14F-4D97-AF65-F5344CB8AC3E}">
        <p14:creationId xmlns:p14="http://schemas.microsoft.com/office/powerpoint/2010/main" val="108117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028</Words>
  <Application>Microsoft Office PowerPoint</Application>
  <PresentationFormat>Breitbild</PresentationFormat>
  <Paragraphs>179</Paragraphs>
  <Slides>18</Slides>
  <Notes>13</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8</vt:i4>
      </vt:variant>
    </vt:vector>
  </HeadingPairs>
  <TitlesOfParts>
    <vt:vector size="24" baseType="lpstr">
      <vt:lpstr>Arial</vt:lpstr>
      <vt:lpstr>Calibri</vt:lpstr>
      <vt:lpstr>Symbol</vt:lpstr>
      <vt:lpstr>Verdana</vt:lpstr>
      <vt:lpstr>Wingdings</vt:lpstr>
      <vt:lpstr>TeachToProtect Unterweisung</vt:lpstr>
      <vt:lpstr>Sicherer Umgang mit Handwerkzeugen</vt:lpstr>
      <vt:lpstr> Fehlerhafter Umgang mit Handwerkzeug ...</vt:lpstr>
      <vt:lpstr>Auswahl geeigneter Handwerkzeuge</vt:lpstr>
      <vt:lpstr>Das richtige Werkzeug – für die richtige Arbeit</vt:lpstr>
      <vt:lpstr>Sachgerechte Handhabung</vt:lpstr>
      <vt:lpstr>Hammer</vt:lpstr>
      <vt:lpstr>Welchen hammer wofür einsetzen?</vt:lpstr>
      <vt:lpstr>Meißel</vt:lpstr>
      <vt:lpstr>Feilen, Raspeln</vt:lpstr>
      <vt:lpstr> Scheren</vt:lpstr>
      <vt:lpstr>Messer / Cutter</vt:lpstr>
      <vt:lpstr>Akku-Bohrer/-Schrauber</vt:lpstr>
      <vt:lpstr>Sägen</vt:lpstr>
      <vt:lpstr>Schraubenschlüssel</vt:lpstr>
      <vt:lpstr>Zangen</vt:lpstr>
      <vt:lpstr>ISOLIERTE WERKZEUGE</vt:lpstr>
      <vt:lpstr>Lagern Sie Ihr Werkzeug stets richtig!</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iberdorf</dc:creator>
  <cp:lastModifiedBy>SP - Sonja Heynen-Pianka</cp:lastModifiedBy>
  <cp:revision>93</cp:revision>
  <dcterms:created xsi:type="dcterms:W3CDTF">2015-01-22T00:01:03Z</dcterms:created>
  <dcterms:modified xsi:type="dcterms:W3CDTF">2024-10-18T09:58:19Z</dcterms:modified>
</cp:coreProperties>
</file>